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diagrams/layout7.xml" ContentType="application/vnd.openxmlformats-officedocument.drawingml.diagram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20.xml" ContentType="application/vnd.openxmlformats-officedocument.presentationml.slide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quickStyle7.xml" ContentType="application/vnd.openxmlformats-officedocument.drawingml.diagramStyl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tags/tag15.xml" ContentType="application/vnd.openxmlformats-officedocument.presentationml.tags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tags/tag13.xml" ContentType="application/vnd.openxmlformats-officedocument.presentationml.tags+xml"/>
  <Override PartName="/ppt/diagrams/drawing6.xml" ContentType="application/vnd.ms-office.drawingml.diagramDrawing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tags/tag11.xml" ContentType="application/vnd.openxmlformats-officedocument.presentationml.tag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4" r:id="rId5"/>
  </p:sldMasterIdLst>
  <p:notesMasterIdLst>
    <p:notesMasterId r:id="rId13"/>
  </p:notesMasterIdLst>
  <p:sldIdLst>
    <p:sldId id="286" r:id="rId6"/>
    <p:sldId id="288" r:id="rId7"/>
    <p:sldId id="291" r:id="rId8"/>
    <p:sldId id="292" r:id="rId9"/>
    <p:sldId id="294" r:id="rId10"/>
    <p:sldId id="275" r:id="rId11"/>
    <p:sldId id="293" r:id="rId12"/>
  </p:sldIdLst>
  <p:sldSz cx="12192000" cy="6858000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4BAE"/>
    <a:srgbClr val="4567BB"/>
    <a:srgbClr val="7891CE"/>
    <a:srgbClr val="046081"/>
    <a:srgbClr val="8EBFD1"/>
    <a:srgbClr val="056786"/>
    <a:srgbClr val="89B7CE"/>
    <a:srgbClr val="D6E9C9"/>
    <a:srgbClr val="78B620"/>
    <a:srgbClr val="8BBAD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25" autoAdjust="0"/>
    <p:restoredTop sz="94799" autoAdjust="0"/>
  </p:normalViewPr>
  <p:slideViewPr>
    <p:cSldViewPr snapToGrid="0">
      <p:cViewPr varScale="1">
        <p:scale>
          <a:sx n="106" d="100"/>
          <a:sy n="106" d="100"/>
        </p:scale>
        <p:origin x="-576" y="-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74F7B7-2897-4938-9E16-A805B7E6D08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03B1C327-B319-4C94-8F8B-1486A34C73D0}">
      <dgm:prSet phldrT="[Szöveg]"/>
      <dgm:spPr>
        <a:gradFill flip="none" rotWithShape="1">
          <a:gsLst>
            <a:gs pos="91000">
              <a:srgbClr val="056786"/>
            </a:gs>
            <a:gs pos="11000">
              <a:srgbClr val="8EBFD1"/>
            </a:gs>
          </a:gsLst>
          <a:lin ang="16200000" scaled="1"/>
          <a:tileRect/>
        </a:gradFill>
      </dgm:spPr>
      <dgm:t>
        <a:bodyPr/>
        <a:lstStyle/>
        <a:p>
          <a:r>
            <a:rPr lang="hu-HU" dirty="0" smtClean="0"/>
            <a:t>Ez a dia „előtűnéssel” vált</a:t>
          </a:r>
          <a:endParaRPr lang="hu-HU" dirty="0"/>
        </a:p>
      </dgm:t>
    </dgm:pt>
    <dgm:pt modelId="{5F235467-76F7-40A7-A473-2AAB0E4D834F}" type="parTrans" cxnId="{BCA6D542-F77A-4181-9F1B-0A0B9703B12B}">
      <dgm:prSet/>
      <dgm:spPr/>
      <dgm:t>
        <a:bodyPr/>
        <a:lstStyle/>
        <a:p>
          <a:endParaRPr lang="hu-HU"/>
        </a:p>
      </dgm:t>
    </dgm:pt>
    <dgm:pt modelId="{861A2A86-9D8E-4C25-BB91-CFFD22F1C401}" type="sibTrans" cxnId="{BCA6D542-F77A-4181-9F1B-0A0B9703B12B}">
      <dgm:prSet/>
      <dgm:spPr/>
      <dgm:t>
        <a:bodyPr/>
        <a:lstStyle/>
        <a:p>
          <a:endParaRPr lang="hu-HU"/>
        </a:p>
      </dgm:t>
    </dgm:pt>
    <dgm:pt modelId="{C3D20D08-60FC-4866-8E3A-2E18E89DC9E2}">
      <dgm:prSet phldrT="[Szöveg]"/>
      <dgm:spPr/>
      <dgm:t>
        <a:bodyPr/>
        <a:lstStyle/>
        <a:p>
          <a:r>
            <a:rPr lang="hu-HU" dirty="0" smtClean="0"/>
            <a:t>0,7 mp alatt</a:t>
          </a:r>
          <a:endParaRPr lang="hu-HU" dirty="0"/>
        </a:p>
      </dgm:t>
    </dgm:pt>
    <dgm:pt modelId="{5318C857-4CDA-46C4-9540-F89C61AF2E9E}" type="parTrans" cxnId="{807536E2-009A-4102-BA5C-AF37F03F6950}">
      <dgm:prSet/>
      <dgm:spPr/>
      <dgm:t>
        <a:bodyPr/>
        <a:lstStyle/>
        <a:p>
          <a:endParaRPr lang="hu-HU"/>
        </a:p>
      </dgm:t>
    </dgm:pt>
    <dgm:pt modelId="{84F1D7FD-B19E-423B-A141-AA41FFF34E9B}" type="sibTrans" cxnId="{807536E2-009A-4102-BA5C-AF37F03F6950}">
      <dgm:prSet/>
      <dgm:spPr/>
      <dgm:t>
        <a:bodyPr/>
        <a:lstStyle/>
        <a:p>
          <a:endParaRPr lang="hu-HU"/>
        </a:p>
      </dgm:t>
    </dgm:pt>
    <dgm:pt modelId="{86AB328D-CC68-410E-804F-8C4E57CE1834}">
      <dgm:prSet phldrT="[Szöveg]"/>
      <dgm:spPr>
        <a:gradFill rotWithShape="0">
          <a:gsLst>
            <a:gs pos="91000">
              <a:srgbClr val="056786"/>
            </a:gs>
            <a:gs pos="11000">
              <a:srgbClr val="8EBFD1"/>
            </a:gs>
          </a:gsLst>
          <a:lin ang="16200000" scaled="1"/>
        </a:gradFill>
      </dgm:spPr>
      <dgm:t>
        <a:bodyPr/>
        <a:lstStyle/>
        <a:p>
          <a:r>
            <a:rPr lang="hu-HU" dirty="0" smtClean="0"/>
            <a:t>Második fő blokk</a:t>
          </a:r>
          <a:endParaRPr lang="hu-HU" dirty="0"/>
        </a:p>
      </dgm:t>
    </dgm:pt>
    <dgm:pt modelId="{B52EF81B-4C5B-4675-9549-E3620A2E3354}" type="parTrans" cxnId="{F3F91529-7675-43D9-8734-3697924DDF0F}">
      <dgm:prSet/>
      <dgm:spPr/>
      <dgm:t>
        <a:bodyPr/>
        <a:lstStyle/>
        <a:p>
          <a:endParaRPr lang="hu-HU"/>
        </a:p>
      </dgm:t>
    </dgm:pt>
    <dgm:pt modelId="{557A0B43-F831-483B-8158-61A01C7707F4}" type="sibTrans" cxnId="{F3F91529-7675-43D9-8734-3697924DDF0F}">
      <dgm:prSet/>
      <dgm:spPr/>
      <dgm:t>
        <a:bodyPr/>
        <a:lstStyle/>
        <a:p>
          <a:endParaRPr lang="hu-HU"/>
        </a:p>
      </dgm:t>
    </dgm:pt>
    <dgm:pt modelId="{07010752-805F-4A5A-B8C8-E2A9F6F576FF}">
      <dgm:prSet phldrT="[Szöveg]"/>
      <dgm:spPr/>
      <dgm:t>
        <a:bodyPr/>
        <a:lstStyle/>
        <a:p>
          <a:r>
            <a:rPr lang="hu-HU" dirty="0" smtClean="0"/>
            <a:t>Részlet1</a:t>
          </a:r>
          <a:endParaRPr lang="hu-HU" dirty="0"/>
        </a:p>
      </dgm:t>
    </dgm:pt>
    <dgm:pt modelId="{AA33ACCD-351F-4729-88D1-FC7B35031921}" type="parTrans" cxnId="{560F4501-67F9-4981-A794-463BDE27006B}">
      <dgm:prSet/>
      <dgm:spPr/>
      <dgm:t>
        <a:bodyPr/>
        <a:lstStyle/>
        <a:p>
          <a:endParaRPr lang="hu-HU"/>
        </a:p>
      </dgm:t>
    </dgm:pt>
    <dgm:pt modelId="{212EBFF7-7C0E-4747-8361-1DF51DB68B1F}" type="sibTrans" cxnId="{560F4501-67F9-4981-A794-463BDE27006B}">
      <dgm:prSet/>
      <dgm:spPr/>
      <dgm:t>
        <a:bodyPr/>
        <a:lstStyle/>
        <a:p>
          <a:endParaRPr lang="hu-HU"/>
        </a:p>
      </dgm:t>
    </dgm:pt>
    <dgm:pt modelId="{08D2C660-3B89-4BE6-8D7D-A7CEBBC29161}">
      <dgm:prSet phldrT="[Szöveg]"/>
      <dgm:spPr/>
      <dgm:t>
        <a:bodyPr/>
        <a:lstStyle/>
        <a:p>
          <a:r>
            <a:rPr lang="hu-HU" dirty="0" smtClean="0"/>
            <a:t>kattintásra</a:t>
          </a:r>
          <a:endParaRPr lang="hu-HU" dirty="0"/>
        </a:p>
      </dgm:t>
    </dgm:pt>
    <dgm:pt modelId="{21FDC775-7CC7-4A48-A77F-00EEE5AC3218}" type="parTrans" cxnId="{855C8F06-BB48-4FE9-9DF7-20489DF87393}">
      <dgm:prSet/>
      <dgm:spPr/>
      <dgm:t>
        <a:bodyPr/>
        <a:lstStyle/>
        <a:p>
          <a:endParaRPr lang="hu-HU"/>
        </a:p>
      </dgm:t>
    </dgm:pt>
    <dgm:pt modelId="{E39D1781-6481-48F2-8F3A-C1A471F778EA}" type="sibTrans" cxnId="{855C8F06-BB48-4FE9-9DF7-20489DF87393}">
      <dgm:prSet/>
      <dgm:spPr/>
      <dgm:t>
        <a:bodyPr/>
        <a:lstStyle/>
        <a:p>
          <a:endParaRPr lang="hu-HU"/>
        </a:p>
      </dgm:t>
    </dgm:pt>
    <dgm:pt modelId="{18D9E298-74D4-49AC-9A11-107DBFE4D9E9}">
      <dgm:prSet phldrT="[Szöveg]"/>
      <dgm:spPr/>
      <dgm:t>
        <a:bodyPr/>
        <a:lstStyle/>
        <a:p>
          <a:r>
            <a:rPr lang="hu-HU" dirty="0" smtClean="0"/>
            <a:t>Részlet3</a:t>
          </a:r>
          <a:endParaRPr lang="hu-HU" dirty="0"/>
        </a:p>
      </dgm:t>
    </dgm:pt>
    <dgm:pt modelId="{50AC5C80-EF53-42BE-BDEC-0FFE921AF10B}" type="parTrans" cxnId="{77B4BAD5-CFF4-4DB6-A58B-F56272EED997}">
      <dgm:prSet/>
      <dgm:spPr/>
      <dgm:t>
        <a:bodyPr/>
        <a:lstStyle/>
        <a:p>
          <a:endParaRPr lang="hu-HU"/>
        </a:p>
      </dgm:t>
    </dgm:pt>
    <dgm:pt modelId="{488FD0DB-4E75-4A99-B977-B8CD95A78D23}" type="sibTrans" cxnId="{77B4BAD5-CFF4-4DB6-A58B-F56272EED997}">
      <dgm:prSet/>
      <dgm:spPr/>
      <dgm:t>
        <a:bodyPr/>
        <a:lstStyle/>
        <a:p>
          <a:endParaRPr lang="hu-HU"/>
        </a:p>
      </dgm:t>
    </dgm:pt>
    <dgm:pt modelId="{E555BC8C-8AD8-49ED-8A12-309EC08964D1}" type="pres">
      <dgm:prSet presAssocID="{1974F7B7-2897-4938-9E16-A805B7E6D08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BB74A392-FBAB-430A-A342-FA8704B92FA1}" type="pres">
      <dgm:prSet presAssocID="{03B1C327-B319-4C94-8F8B-1486A34C73D0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46189BB0-2491-409F-99EF-0E992CA2A12B}" type="pres">
      <dgm:prSet presAssocID="{03B1C327-B319-4C94-8F8B-1486A34C73D0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58F0AAA-28AE-4748-9EF4-426572DAFE0D}" type="pres">
      <dgm:prSet presAssocID="{86AB328D-CC68-410E-804F-8C4E57CE1834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6645FDEA-F8A7-48B0-ABED-005F0B67E378}" type="pres">
      <dgm:prSet presAssocID="{86AB328D-CC68-410E-804F-8C4E57CE1834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855C8F06-BB48-4FE9-9DF7-20489DF87393}" srcId="{03B1C327-B319-4C94-8F8B-1486A34C73D0}" destId="{08D2C660-3B89-4BE6-8D7D-A7CEBBC29161}" srcOrd="1" destOrd="0" parTransId="{21FDC775-7CC7-4A48-A77F-00EEE5AC3218}" sibTransId="{E39D1781-6481-48F2-8F3A-C1A471F778EA}"/>
    <dgm:cxn modelId="{9F1D4E00-95F4-4E1D-A439-114FF647201F}" type="presOf" srcId="{1974F7B7-2897-4938-9E16-A805B7E6D081}" destId="{E555BC8C-8AD8-49ED-8A12-309EC08964D1}" srcOrd="0" destOrd="0" presId="urn:microsoft.com/office/officeart/2005/8/layout/vList2"/>
    <dgm:cxn modelId="{F3F91529-7675-43D9-8734-3697924DDF0F}" srcId="{1974F7B7-2897-4938-9E16-A805B7E6D081}" destId="{86AB328D-CC68-410E-804F-8C4E57CE1834}" srcOrd="1" destOrd="0" parTransId="{B52EF81B-4C5B-4675-9549-E3620A2E3354}" sibTransId="{557A0B43-F831-483B-8158-61A01C7707F4}"/>
    <dgm:cxn modelId="{BCA6D542-F77A-4181-9F1B-0A0B9703B12B}" srcId="{1974F7B7-2897-4938-9E16-A805B7E6D081}" destId="{03B1C327-B319-4C94-8F8B-1486A34C73D0}" srcOrd="0" destOrd="0" parTransId="{5F235467-76F7-40A7-A473-2AAB0E4D834F}" sibTransId="{861A2A86-9D8E-4C25-BB91-CFFD22F1C401}"/>
    <dgm:cxn modelId="{6AF9A921-BF26-4D2F-A68D-9FEAAFD4DEBC}" type="presOf" srcId="{07010752-805F-4A5A-B8C8-E2A9F6F576FF}" destId="{6645FDEA-F8A7-48B0-ABED-005F0B67E378}" srcOrd="0" destOrd="0" presId="urn:microsoft.com/office/officeart/2005/8/layout/vList2"/>
    <dgm:cxn modelId="{A4049882-6C41-4F3A-8A54-A570D36A7CA9}" type="presOf" srcId="{08D2C660-3B89-4BE6-8D7D-A7CEBBC29161}" destId="{46189BB0-2491-409F-99EF-0E992CA2A12B}" srcOrd="0" destOrd="1" presId="urn:microsoft.com/office/officeart/2005/8/layout/vList2"/>
    <dgm:cxn modelId="{F7639D7C-EFD2-4DCC-8DD6-395E7AC30D16}" type="presOf" srcId="{18D9E298-74D4-49AC-9A11-107DBFE4D9E9}" destId="{6645FDEA-F8A7-48B0-ABED-005F0B67E378}" srcOrd="0" destOrd="1" presId="urn:microsoft.com/office/officeart/2005/8/layout/vList2"/>
    <dgm:cxn modelId="{77B4BAD5-CFF4-4DB6-A58B-F56272EED997}" srcId="{86AB328D-CC68-410E-804F-8C4E57CE1834}" destId="{18D9E298-74D4-49AC-9A11-107DBFE4D9E9}" srcOrd="1" destOrd="0" parTransId="{50AC5C80-EF53-42BE-BDEC-0FFE921AF10B}" sibTransId="{488FD0DB-4E75-4A99-B977-B8CD95A78D23}"/>
    <dgm:cxn modelId="{DE7FC52A-EC0A-427E-B4BA-1A965F49BC89}" type="presOf" srcId="{86AB328D-CC68-410E-804F-8C4E57CE1834}" destId="{258F0AAA-28AE-4748-9EF4-426572DAFE0D}" srcOrd="0" destOrd="0" presId="urn:microsoft.com/office/officeart/2005/8/layout/vList2"/>
    <dgm:cxn modelId="{CBEAD51B-BE87-416A-B3C2-365358532592}" type="presOf" srcId="{C3D20D08-60FC-4866-8E3A-2E18E89DC9E2}" destId="{46189BB0-2491-409F-99EF-0E992CA2A12B}" srcOrd="0" destOrd="0" presId="urn:microsoft.com/office/officeart/2005/8/layout/vList2"/>
    <dgm:cxn modelId="{FBC49C48-8C8C-40A4-9B5F-F22A86C0DF99}" type="presOf" srcId="{03B1C327-B319-4C94-8F8B-1486A34C73D0}" destId="{BB74A392-FBAB-430A-A342-FA8704B92FA1}" srcOrd="0" destOrd="0" presId="urn:microsoft.com/office/officeart/2005/8/layout/vList2"/>
    <dgm:cxn modelId="{560F4501-67F9-4981-A794-463BDE27006B}" srcId="{86AB328D-CC68-410E-804F-8C4E57CE1834}" destId="{07010752-805F-4A5A-B8C8-E2A9F6F576FF}" srcOrd="0" destOrd="0" parTransId="{AA33ACCD-351F-4729-88D1-FC7B35031921}" sibTransId="{212EBFF7-7C0E-4747-8361-1DF51DB68B1F}"/>
    <dgm:cxn modelId="{807536E2-009A-4102-BA5C-AF37F03F6950}" srcId="{03B1C327-B319-4C94-8F8B-1486A34C73D0}" destId="{C3D20D08-60FC-4866-8E3A-2E18E89DC9E2}" srcOrd="0" destOrd="0" parTransId="{5318C857-4CDA-46C4-9540-F89C61AF2E9E}" sibTransId="{84F1D7FD-B19E-423B-A141-AA41FFF34E9B}"/>
    <dgm:cxn modelId="{526E07BD-D1BF-4067-A06C-835C106756B4}" type="presParOf" srcId="{E555BC8C-8AD8-49ED-8A12-309EC08964D1}" destId="{BB74A392-FBAB-430A-A342-FA8704B92FA1}" srcOrd="0" destOrd="0" presId="urn:microsoft.com/office/officeart/2005/8/layout/vList2"/>
    <dgm:cxn modelId="{6402F598-E6DA-4C03-9C64-A0F133CDD838}" type="presParOf" srcId="{E555BC8C-8AD8-49ED-8A12-309EC08964D1}" destId="{46189BB0-2491-409F-99EF-0E992CA2A12B}" srcOrd="1" destOrd="0" presId="urn:microsoft.com/office/officeart/2005/8/layout/vList2"/>
    <dgm:cxn modelId="{574A524B-978B-4CF6-B336-A7D60512A97B}" type="presParOf" srcId="{E555BC8C-8AD8-49ED-8A12-309EC08964D1}" destId="{258F0AAA-28AE-4748-9EF4-426572DAFE0D}" srcOrd="2" destOrd="0" presId="urn:microsoft.com/office/officeart/2005/8/layout/vList2"/>
    <dgm:cxn modelId="{B105131F-42B5-4B3B-B014-636AA55E1237}" type="presParOf" srcId="{E555BC8C-8AD8-49ED-8A12-309EC08964D1}" destId="{6645FDEA-F8A7-48B0-ABED-005F0B67E378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7C8DAD-2CCC-4B5F-9438-49286B137BD3}" type="doc">
      <dgm:prSet loTypeId="urn:microsoft.com/office/officeart/2005/8/layout/default#1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1E326FED-E5AF-46FB-A0E1-3E2AD37C7D2D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3200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Verdana</a:t>
          </a:r>
          <a:r>
            <a:rPr lang="hu-HU" sz="3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betűtípus (32 p, normál)</a:t>
          </a:r>
          <a:endParaRPr lang="hu-HU" sz="3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8B2DB4F-1ECD-49D4-BB31-EB9098734EA7}" type="parTrans" cxnId="{1CFDE1B5-36A6-4A6F-83AD-009E8DD5BDBF}">
      <dgm:prSet/>
      <dgm:spPr/>
      <dgm:t>
        <a:bodyPr/>
        <a:lstStyle/>
        <a:p>
          <a:endParaRPr lang="hu-HU"/>
        </a:p>
      </dgm:t>
    </dgm:pt>
    <dgm:pt modelId="{2928725D-80B0-4581-BDE8-70FE436B9D5D}" type="sibTrans" cxnId="{1CFDE1B5-36A6-4A6F-83AD-009E8DD5BDBF}">
      <dgm:prSet/>
      <dgm:spPr/>
      <dgm:t>
        <a:bodyPr/>
        <a:lstStyle/>
        <a:p>
          <a:endParaRPr lang="hu-HU"/>
        </a:p>
      </dgm:t>
    </dgm:pt>
    <dgm:pt modelId="{845D4D2C-E458-42D0-AAC5-DEF8A17B3F3B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Verdana</a:t>
          </a:r>
          <a:r>
            <a:rPr lang="hu-HU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, 24 p, normál</a:t>
          </a:r>
          <a:endParaRPr lang="hu-HU" sz="24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E157B56-2369-4B7C-BB1F-FCE5C8395C8B}" type="parTrans" cxnId="{21D78E1D-4A92-4152-B4C7-CDB6BC9E7D00}">
      <dgm:prSet/>
      <dgm:spPr/>
      <dgm:t>
        <a:bodyPr/>
        <a:lstStyle/>
        <a:p>
          <a:endParaRPr lang="hu-HU"/>
        </a:p>
      </dgm:t>
    </dgm:pt>
    <dgm:pt modelId="{03B5D59B-6E20-47CC-A785-49DE7047652B}" type="sibTrans" cxnId="{21D78E1D-4A92-4152-B4C7-CDB6BC9E7D00}">
      <dgm:prSet/>
      <dgm:spPr/>
      <dgm:t>
        <a:bodyPr/>
        <a:lstStyle/>
        <a:p>
          <a:endParaRPr lang="hu-HU"/>
        </a:p>
      </dgm:t>
    </dgm:pt>
    <dgm:pt modelId="{22057E0D-8C34-40CE-8DEB-E5053F382179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3200" dirty="0" err="1" smtClean="0"/>
            <a:t>Calibri</a:t>
          </a:r>
          <a:r>
            <a:rPr lang="hu-HU" sz="3200" dirty="0" smtClean="0"/>
            <a:t> betűtípus (32 p, normál)</a:t>
          </a:r>
          <a:endParaRPr lang="hu-HU" sz="3200" dirty="0"/>
        </a:p>
      </dgm:t>
    </dgm:pt>
    <dgm:pt modelId="{981FC6E8-2776-422A-9ED8-F4854BCBE5CD}" type="parTrans" cxnId="{955C4C41-E873-4AB0-AF4D-AE736168185A}">
      <dgm:prSet/>
      <dgm:spPr/>
      <dgm:t>
        <a:bodyPr/>
        <a:lstStyle/>
        <a:p>
          <a:endParaRPr lang="hu-HU"/>
        </a:p>
      </dgm:t>
    </dgm:pt>
    <dgm:pt modelId="{4D4F5162-B891-48A2-AFF1-81C4AF582959}" type="sibTrans" cxnId="{955C4C41-E873-4AB0-AF4D-AE736168185A}">
      <dgm:prSet/>
      <dgm:spPr/>
      <dgm:t>
        <a:bodyPr/>
        <a:lstStyle/>
        <a:p>
          <a:endParaRPr lang="hu-HU"/>
        </a:p>
      </dgm:t>
    </dgm:pt>
    <dgm:pt modelId="{73713602-DAAF-4BC8-AD3A-4A0FCB156BEC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dirty="0" err="1" smtClean="0"/>
            <a:t>Calibri</a:t>
          </a:r>
          <a:r>
            <a:rPr lang="hu-HU" sz="2400" dirty="0" smtClean="0"/>
            <a:t>, 24 p, normál</a:t>
          </a:r>
          <a:endParaRPr lang="hu-HU" sz="2400" dirty="0"/>
        </a:p>
      </dgm:t>
    </dgm:pt>
    <dgm:pt modelId="{B0DF6E65-FD59-480D-B45F-0DEB3284DC29}" type="parTrans" cxnId="{7B183334-005C-4425-ACC8-02100FF872BB}">
      <dgm:prSet/>
      <dgm:spPr/>
      <dgm:t>
        <a:bodyPr/>
        <a:lstStyle/>
        <a:p>
          <a:endParaRPr lang="hu-HU"/>
        </a:p>
      </dgm:t>
    </dgm:pt>
    <dgm:pt modelId="{9CDB6234-8F83-4B62-BF4F-1B15DA9FBE81}" type="sibTrans" cxnId="{7B183334-005C-4425-ACC8-02100FF872BB}">
      <dgm:prSet/>
      <dgm:spPr/>
      <dgm:t>
        <a:bodyPr/>
        <a:lstStyle/>
        <a:p>
          <a:endParaRPr lang="hu-HU"/>
        </a:p>
      </dgm:t>
    </dgm:pt>
    <dgm:pt modelId="{499236FE-C9D3-47CC-B247-B405040E5987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i="1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Verdana</a:t>
          </a:r>
          <a:r>
            <a:rPr lang="hu-HU" sz="2400" i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, 24 p, dőlt</a:t>
          </a:r>
          <a:endParaRPr lang="hu-HU" sz="2400" i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5310C5D-7F75-4CAC-92F1-819AB81F8B79}" type="parTrans" cxnId="{112D9342-0DBC-4116-AB2B-265AFE16FA44}">
      <dgm:prSet/>
      <dgm:spPr/>
      <dgm:t>
        <a:bodyPr/>
        <a:lstStyle/>
        <a:p>
          <a:endParaRPr lang="hu-HU"/>
        </a:p>
      </dgm:t>
    </dgm:pt>
    <dgm:pt modelId="{6677C2A7-EF68-469B-B596-28F0AB07A8DC}" type="sibTrans" cxnId="{112D9342-0DBC-4116-AB2B-265AFE16FA44}">
      <dgm:prSet/>
      <dgm:spPr/>
      <dgm:t>
        <a:bodyPr/>
        <a:lstStyle/>
        <a:p>
          <a:endParaRPr lang="hu-HU"/>
        </a:p>
      </dgm:t>
    </dgm:pt>
    <dgm:pt modelId="{EA3A7E0A-0B22-4D00-BA6E-AFB7976E1F3A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i="1" dirty="0" err="1" smtClean="0"/>
            <a:t>Calibri</a:t>
          </a:r>
          <a:r>
            <a:rPr lang="hu-HU" sz="2400" i="1" dirty="0" smtClean="0"/>
            <a:t>, 24 p, dőlt</a:t>
          </a:r>
          <a:endParaRPr lang="hu-HU" sz="2400" i="1" dirty="0"/>
        </a:p>
      </dgm:t>
    </dgm:pt>
    <dgm:pt modelId="{5CB9E73A-4C8C-4D9D-995C-A9DFF2A2E181}" type="parTrans" cxnId="{8FAFE022-56EE-470F-9BCB-D40B12B018B8}">
      <dgm:prSet/>
      <dgm:spPr/>
      <dgm:t>
        <a:bodyPr/>
        <a:lstStyle/>
        <a:p>
          <a:endParaRPr lang="hu-HU"/>
        </a:p>
      </dgm:t>
    </dgm:pt>
    <dgm:pt modelId="{530AC5EC-3613-423D-9C8A-7B8DC4B43C3D}" type="sibTrans" cxnId="{8FAFE022-56EE-470F-9BCB-D40B12B018B8}">
      <dgm:prSet/>
      <dgm:spPr/>
      <dgm:t>
        <a:bodyPr/>
        <a:lstStyle/>
        <a:p>
          <a:endParaRPr lang="hu-HU"/>
        </a:p>
      </dgm:t>
    </dgm:pt>
    <dgm:pt modelId="{8FC7E1BA-5E40-4782-9A27-5FE764EA25C2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i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Verdana, 24 p, normál, sötétkék</a:t>
          </a:r>
          <a:endParaRPr lang="hu-HU" sz="2400" i="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57C44A6-6DDA-432E-A578-ECDF20F957F5}" type="parTrans" cxnId="{69A2C6D6-E9C9-4BD5-A383-35A60B019323}">
      <dgm:prSet/>
      <dgm:spPr/>
      <dgm:t>
        <a:bodyPr/>
        <a:lstStyle/>
        <a:p>
          <a:endParaRPr lang="hu-HU"/>
        </a:p>
      </dgm:t>
    </dgm:pt>
    <dgm:pt modelId="{735B3D31-F5C8-418A-A75D-6FE6737A6D28}" type="sibTrans" cxnId="{69A2C6D6-E9C9-4BD5-A383-35A60B019323}">
      <dgm:prSet/>
      <dgm:spPr/>
      <dgm:t>
        <a:bodyPr/>
        <a:lstStyle/>
        <a:p>
          <a:endParaRPr lang="hu-HU"/>
        </a:p>
      </dgm:t>
    </dgm:pt>
    <dgm:pt modelId="{A285209E-6F5A-47C2-94B8-03A39FF79BC0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smtClean="0"/>
            <a:t>Calibri, 24 p, normál, sötétkék</a:t>
          </a:r>
          <a:endParaRPr lang="hu-HU" sz="2400" i="1" dirty="0"/>
        </a:p>
      </dgm:t>
    </dgm:pt>
    <dgm:pt modelId="{BF04E6DF-761C-450F-BEC8-42C578024C3D}" type="parTrans" cxnId="{F3B01FC2-2AEF-4851-8337-CB762DFBAED4}">
      <dgm:prSet/>
      <dgm:spPr/>
      <dgm:t>
        <a:bodyPr/>
        <a:lstStyle/>
        <a:p>
          <a:endParaRPr lang="hu-HU"/>
        </a:p>
      </dgm:t>
    </dgm:pt>
    <dgm:pt modelId="{9D6FB0D6-A77D-4D4D-9617-C7A83D06D65B}" type="sibTrans" cxnId="{F3B01FC2-2AEF-4851-8337-CB762DFBAED4}">
      <dgm:prSet/>
      <dgm:spPr/>
      <dgm:t>
        <a:bodyPr/>
        <a:lstStyle/>
        <a:p>
          <a:endParaRPr lang="hu-HU"/>
        </a:p>
      </dgm:t>
    </dgm:pt>
    <dgm:pt modelId="{2B6A5771-C0A7-4666-9F13-247CB5013FAC}">
      <dgm:prSet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smtClean="0">
              <a:latin typeface="+mj-lt"/>
            </a:rPr>
            <a:t>Calibri Light, 24 p, normál, sötétkék</a:t>
          </a:r>
          <a:endParaRPr lang="hu-HU" sz="2400" i="1" dirty="0">
            <a:latin typeface="+mj-lt"/>
          </a:endParaRPr>
        </a:p>
      </dgm:t>
    </dgm:pt>
    <dgm:pt modelId="{5343FC79-101E-423C-A7BF-26151B5D14AE}">
      <dgm:prSet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i="1" dirty="0" err="1" smtClean="0">
              <a:latin typeface="+mj-lt"/>
            </a:rPr>
            <a:t>Calibri</a:t>
          </a:r>
          <a:r>
            <a:rPr lang="hu-HU" sz="2400" i="1" dirty="0" smtClean="0">
              <a:latin typeface="+mj-lt"/>
            </a:rPr>
            <a:t> </a:t>
          </a:r>
          <a:r>
            <a:rPr lang="hu-HU" sz="2400" i="1" dirty="0" err="1" smtClean="0">
              <a:latin typeface="+mj-lt"/>
            </a:rPr>
            <a:t>Light</a:t>
          </a:r>
          <a:r>
            <a:rPr lang="hu-HU" sz="2400" i="1" dirty="0" smtClean="0">
              <a:latin typeface="+mj-lt"/>
            </a:rPr>
            <a:t>, 24 p, dőlt</a:t>
          </a:r>
          <a:endParaRPr lang="hu-HU" sz="2400" i="1" dirty="0">
            <a:latin typeface="+mj-lt"/>
          </a:endParaRPr>
        </a:p>
      </dgm:t>
    </dgm:pt>
    <dgm:pt modelId="{DF09990F-4D54-4FD4-B7B5-E815E4EB3247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2400" dirty="0" err="1" smtClean="0">
              <a:latin typeface="+mj-lt"/>
            </a:rPr>
            <a:t>Calibri</a:t>
          </a:r>
          <a:r>
            <a:rPr lang="hu-HU" sz="2400" dirty="0" smtClean="0">
              <a:latin typeface="+mj-lt"/>
            </a:rPr>
            <a:t> </a:t>
          </a:r>
          <a:r>
            <a:rPr lang="hu-HU" sz="2400" dirty="0" err="1" smtClean="0">
              <a:latin typeface="+mj-lt"/>
            </a:rPr>
            <a:t>Light</a:t>
          </a:r>
          <a:r>
            <a:rPr lang="hu-HU" sz="2400" dirty="0" smtClean="0">
              <a:latin typeface="+mj-lt"/>
            </a:rPr>
            <a:t>, 24 p, normál</a:t>
          </a:r>
          <a:endParaRPr lang="hu-HU" sz="2400" dirty="0">
            <a:latin typeface="+mj-lt"/>
          </a:endParaRPr>
        </a:p>
      </dgm:t>
    </dgm:pt>
    <dgm:pt modelId="{688556A2-1EA3-404C-8229-474073B215EF}">
      <dgm:prSet phldrT="[Szöveg]" custT="1"/>
      <dgm:spPr>
        <a:gradFill rotWithShape="0">
          <a:gsLst>
            <a:gs pos="0">
              <a:srgbClr val="89B7CE"/>
            </a:gs>
            <a:gs pos="100000">
              <a:srgbClr val="046081"/>
            </a:gs>
          </a:gsLst>
        </a:gradFill>
      </dgm:spPr>
      <dgm:t>
        <a:bodyPr/>
        <a:lstStyle/>
        <a:p>
          <a:r>
            <a:rPr lang="hu-HU" sz="3200" dirty="0" err="1" smtClean="0">
              <a:latin typeface="+mj-lt"/>
            </a:rPr>
            <a:t>Calibri</a:t>
          </a:r>
          <a:r>
            <a:rPr lang="hu-HU" sz="3200" dirty="0" smtClean="0">
              <a:latin typeface="+mj-lt"/>
            </a:rPr>
            <a:t> </a:t>
          </a:r>
          <a:r>
            <a:rPr lang="hu-HU" sz="3200" dirty="0" err="1" smtClean="0">
              <a:latin typeface="+mj-lt"/>
            </a:rPr>
            <a:t>Light</a:t>
          </a:r>
          <a:r>
            <a:rPr lang="hu-HU" sz="3200" dirty="0" smtClean="0">
              <a:latin typeface="+mj-lt"/>
            </a:rPr>
            <a:t> betűtípus (32 p, normál)</a:t>
          </a:r>
          <a:endParaRPr lang="hu-HU" sz="3200" dirty="0">
            <a:latin typeface="+mj-lt"/>
          </a:endParaRPr>
        </a:p>
      </dgm:t>
    </dgm:pt>
    <dgm:pt modelId="{1C68A883-EAB8-4689-8F43-84421295C4E6}" type="sibTrans" cxnId="{1C4546E7-7A65-41F5-95A3-B2524FC7517F}">
      <dgm:prSet/>
      <dgm:spPr/>
      <dgm:t>
        <a:bodyPr/>
        <a:lstStyle/>
        <a:p>
          <a:endParaRPr lang="hu-HU"/>
        </a:p>
      </dgm:t>
    </dgm:pt>
    <dgm:pt modelId="{455B38E3-9ED7-4BA9-8A3A-D2CFA7B92879}" type="parTrans" cxnId="{1C4546E7-7A65-41F5-95A3-B2524FC7517F}">
      <dgm:prSet/>
      <dgm:spPr/>
      <dgm:t>
        <a:bodyPr/>
        <a:lstStyle/>
        <a:p>
          <a:endParaRPr lang="hu-HU"/>
        </a:p>
      </dgm:t>
    </dgm:pt>
    <dgm:pt modelId="{F7F73A37-8A88-4662-AC9F-9B7E50F91CC1}" type="sibTrans" cxnId="{A5E21526-B45C-4899-9FCC-2EA9D7197BA1}">
      <dgm:prSet/>
      <dgm:spPr/>
      <dgm:t>
        <a:bodyPr/>
        <a:lstStyle/>
        <a:p>
          <a:endParaRPr lang="hu-HU"/>
        </a:p>
      </dgm:t>
    </dgm:pt>
    <dgm:pt modelId="{0D287736-40F7-4D01-9196-A8666BAC2E52}" type="parTrans" cxnId="{A5E21526-B45C-4899-9FCC-2EA9D7197BA1}">
      <dgm:prSet/>
      <dgm:spPr/>
      <dgm:t>
        <a:bodyPr/>
        <a:lstStyle/>
        <a:p>
          <a:endParaRPr lang="hu-HU"/>
        </a:p>
      </dgm:t>
    </dgm:pt>
    <dgm:pt modelId="{9AEAB227-0A2B-40CC-AB26-62F798A8EB52}" type="sibTrans" cxnId="{BF1232F5-9963-458F-8B22-0C4C89BBE0A6}">
      <dgm:prSet/>
      <dgm:spPr/>
      <dgm:t>
        <a:bodyPr/>
        <a:lstStyle/>
        <a:p>
          <a:endParaRPr lang="hu-HU"/>
        </a:p>
      </dgm:t>
    </dgm:pt>
    <dgm:pt modelId="{FE4910B3-6F9D-4222-A331-34F1AA96B14F}" type="parTrans" cxnId="{BF1232F5-9963-458F-8B22-0C4C89BBE0A6}">
      <dgm:prSet/>
      <dgm:spPr/>
      <dgm:t>
        <a:bodyPr/>
        <a:lstStyle/>
        <a:p>
          <a:endParaRPr lang="hu-HU"/>
        </a:p>
      </dgm:t>
    </dgm:pt>
    <dgm:pt modelId="{86BE7C23-2397-43D4-8334-3C7FB76829B2}" type="sibTrans" cxnId="{E507836F-4667-4BDC-AD67-7D826123A173}">
      <dgm:prSet/>
      <dgm:spPr/>
      <dgm:t>
        <a:bodyPr/>
        <a:lstStyle/>
        <a:p>
          <a:endParaRPr lang="hu-HU"/>
        </a:p>
      </dgm:t>
    </dgm:pt>
    <dgm:pt modelId="{8BA7F829-0126-4949-9FE1-6D4FDE8C0297}" type="parTrans" cxnId="{E507836F-4667-4BDC-AD67-7D826123A173}">
      <dgm:prSet/>
      <dgm:spPr/>
      <dgm:t>
        <a:bodyPr/>
        <a:lstStyle/>
        <a:p>
          <a:endParaRPr lang="hu-HU"/>
        </a:p>
      </dgm:t>
    </dgm:pt>
    <dgm:pt modelId="{11BD3DC4-7B5F-44AB-A9F3-ED2290E97284}" type="pres">
      <dgm:prSet presAssocID="{607C8DAD-2CCC-4B5F-9438-49286B137BD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16D14919-EC01-4345-AD76-25811F61BD00}" type="pres">
      <dgm:prSet presAssocID="{1E326FED-E5AF-46FB-A0E1-3E2AD37C7D2D}" presName="node" presStyleLbl="node1" presStyleIdx="0" presStyleCnt="3" custLinFactNeighborX="-71918" custLinFactNeighborY="-21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918CBBE-523E-4B48-8BD1-B78E6595358F}" type="pres">
      <dgm:prSet presAssocID="{2928725D-80B0-4581-BDE8-70FE436B9D5D}" presName="sibTrans" presStyleCnt="0"/>
      <dgm:spPr/>
      <dgm:t>
        <a:bodyPr/>
        <a:lstStyle/>
        <a:p>
          <a:endParaRPr lang="hu-HU"/>
        </a:p>
      </dgm:t>
    </dgm:pt>
    <dgm:pt modelId="{21EF0F4D-902F-420A-AAF7-AAFD85CB8829}" type="pres">
      <dgm:prSet presAssocID="{22057E0D-8C34-40CE-8DEB-E5053F38217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1DB5C08C-D277-4522-9DE6-B721C14A2433}" type="pres">
      <dgm:prSet presAssocID="{4D4F5162-B891-48A2-AFF1-81C4AF582959}" presName="sibTrans" presStyleCnt="0"/>
      <dgm:spPr/>
      <dgm:t>
        <a:bodyPr/>
        <a:lstStyle/>
        <a:p>
          <a:endParaRPr lang="hu-HU"/>
        </a:p>
      </dgm:t>
    </dgm:pt>
    <dgm:pt modelId="{869323FB-940D-4EE8-8E39-C52888FA1438}" type="pres">
      <dgm:prSet presAssocID="{688556A2-1EA3-404C-8229-474073B215E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7FAD6080-DC02-46B2-8470-E4EB3C9BEB11}" type="presOf" srcId="{DF09990F-4D54-4FD4-B7B5-E815E4EB3247}" destId="{869323FB-940D-4EE8-8E39-C52888FA1438}" srcOrd="0" destOrd="1" presId="urn:microsoft.com/office/officeart/2005/8/layout/default#1"/>
    <dgm:cxn modelId="{D6F96BAA-B284-4064-8E4B-4F4C94CEBACF}" type="presOf" srcId="{1E326FED-E5AF-46FB-A0E1-3E2AD37C7D2D}" destId="{16D14919-EC01-4345-AD76-25811F61BD00}" srcOrd="0" destOrd="0" presId="urn:microsoft.com/office/officeart/2005/8/layout/default#1"/>
    <dgm:cxn modelId="{8FAFE022-56EE-470F-9BCB-D40B12B018B8}" srcId="{22057E0D-8C34-40CE-8DEB-E5053F382179}" destId="{EA3A7E0A-0B22-4D00-BA6E-AFB7976E1F3A}" srcOrd="1" destOrd="0" parTransId="{5CB9E73A-4C8C-4D9D-995C-A9DFF2A2E181}" sibTransId="{530AC5EC-3613-423D-9C8A-7B8DC4B43C3D}"/>
    <dgm:cxn modelId="{170ACB09-B724-4922-A4D4-ADF13FB30F5B}" type="presOf" srcId="{22057E0D-8C34-40CE-8DEB-E5053F382179}" destId="{21EF0F4D-902F-420A-AAF7-AAFD85CB8829}" srcOrd="0" destOrd="0" presId="urn:microsoft.com/office/officeart/2005/8/layout/default#1"/>
    <dgm:cxn modelId="{E507836F-4667-4BDC-AD67-7D826123A173}" srcId="{688556A2-1EA3-404C-8229-474073B215EF}" destId="{DF09990F-4D54-4FD4-B7B5-E815E4EB3247}" srcOrd="0" destOrd="0" parTransId="{8BA7F829-0126-4949-9FE1-6D4FDE8C0297}" sibTransId="{86BE7C23-2397-43D4-8334-3C7FB76829B2}"/>
    <dgm:cxn modelId="{1539D244-96B0-4443-8F34-2D02E6A3FA4A}" type="presOf" srcId="{8FC7E1BA-5E40-4782-9A27-5FE764EA25C2}" destId="{16D14919-EC01-4345-AD76-25811F61BD00}" srcOrd="0" destOrd="3" presId="urn:microsoft.com/office/officeart/2005/8/layout/default#1"/>
    <dgm:cxn modelId="{E410BD01-2EC7-4E38-A926-7F08A535F030}" type="presOf" srcId="{5343FC79-101E-423C-A7BF-26151B5D14AE}" destId="{869323FB-940D-4EE8-8E39-C52888FA1438}" srcOrd="0" destOrd="2" presId="urn:microsoft.com/office/officeart/2005/8/layout/default#1"/>
    <dgm:cxn modelId="{35B3DD29-521E-412B-A16F-3D1F518F3AF1}" type="presOf" srcId="{845D4D2C-E458-42D0-AAC5-DEF8A17B3F3B}" destId="{16D14919-EC01-4345-AD76-25811F61BD00}" srcOrd="0" destOrd="1" presId="urn:microsoft.com/office/officeart/2005/8/layout/default#1"/>
    <dgm:cxn modelId="{7B183334-005C-4425-ACC8-02100FF872BB}" srcId="{22057E0D-8C34-40CE-8DEB-E5053F382179}" destId="{73713602-DAAF-4BC8-AD3A-4A0FCB156BEC}" srcOrd="0" destOrd="0" parTransId="{B0DF6E65-FD59-480D-B45F-0DEB3284DC29}" sibTransId="{9CDB6234-8F83-4B62-BF4F-1B15DA9FBE81}"/>
    <dgm:cxn modelId="{A7DB4EF2-FF71-4BF9-86F8-AC90FDA2C6ED}" type="presOf" srcId="{73713602-DAAF-4BC8-AD3A-4A0FCB156BEC}" destId="{21EF0F4D-902F-420A-AAF7-AAFD85CB8829}" srcOrd="0" destOrd="1" presId="urn:microsoft.com/office/officeart/2005/8/layout/default#1"/>
    <dgm:cxn modelId="{1CFDE1B5-36A6-4A6F-83AD-009E8DD5BDBF}" srcId="{607C8DAD-2CCC-4B5F-9438-49286B137BD3}" destId="{1E326FED-E5AF-46FB-A0E1-3E2AD37C7D2D}" srcOrd="0" destOrd="0" parTransId="{F8B2DB4F-1ECD-49D4-BB31-EB9098734EA7}" sibTransId="{2928725D-80B0-4581-BDE8-70FE436B9D5D}"/>
    <dgm:cxn modelId="{F3B01FC2-2AEF-4851-8337-CB762DFBAED4}" srcId="{22057E0D-8C34-40CE-8DEB-E5053F382179}" destId="{A285209E-6F5A-47C2-94B8-03A39FF79BC0}" srcOrd="2" destOrd="0" parTransId="{BF04E6DF-761C-450F-BEC8-42C578024C3D}" sibTransId="{9D6FB0D6-A77D-4D4D-9617-C7A83D06D65B}"/>
    <dgm:cxn modelId="{BF1232F5-9963-458F-8B22-0C4C89BBE0A6}" srcId="{688556A2-1EA3-404C-8229-474073B215EF}" destId="{5343FC79-101E-423C-A7BF-26151B5D14AE}" srcOrd="1" destOrd="0" parTransId="{FE4910B3-6F9D-4222-A331-34F1AA96B14F}" sibTransId="{9AEAB227-0A2B-40CC-AB26-62F798A8EB52}"/>
    <dgm:cxn modelId="{69A2C6D6-E9C9-4BD5-A383-35A60B019323}" srcId="{1E326FED-E5AF-46FB-A0E1-3E2AD37C7D2D}" destId="{8FC7E1BA-5E40-4782-9A27-5FE764EA25C2}" srcOrd="2" destOrd="0" parTransId="{A57C44A6-6DDA-432E-A578-ECDF20F957F5}" sibTransId="{735B3D31-F5C8-418A-A75D-6FE6737A6D28}"/>
    <dgm:cxn modelId="{21D78E1D-4A92-4152-B4C7-CDB6BC9E7D00}" srcId="{1E326FED-E5AF-46FB-A0E1-3E2AD37C7D2D}" destId="{845D4D2C-E458-42D0-AAC5-DEF8A17B3F3B}" srcOrd="0" destOrd="0" parTransId="{5E157B56-2369-4B7C-BB1F-FCE5C8395C8B}" sibTransId="{03B5D59B-6E20-47CC-A785-49DE7047652B}"/>
    <dgm:cxn modelId="{B81986D3-6530-45EC-8C09-30B0ADF295F6}" type="presOf" srcId="{499236FE-C9D3-47CC-B247-B405040E5987}" destId="{16D14919-EC01-4345-AD76-25811F61BD00}" srcOrd="0" destOrd="2" presId="urn:microsoft.com/office/officeart/2005/8/layout/default#1"/>
    <dgm:cxn modelId="{FF825C42-815D-4174-AB92-64A3B2F48EBB}" type="presOf" srcId="{EA3A7E0A-0B22-4D00-BA6E-AFB7976E1F3A}" destId="{21EF0F4D-902F-420A-AAF7-AAFD85CB8829}" srcOrd="0" destOrd="2" presId="urn:microsoft.com/office/officeart/2005/8/layout/default#1"/>
    <dgm:cxn modelId="{05673D19-AC3B-46A8-95F8-A11FD6EDE823}" type="presOf" srcId="{688556A2-1EA3-404C-8229-474073B215EF}" destId="{869323FB-940D-4EE8-8E39-C52888FA1438}" srcOrd="0" destOrd="0" presId="urn:microsoft.com/office/officeart/2005/8/layout/default#1"/>
    <dgm:cxn modelId="{955C4C41-E873-4AB0-AF4D-AE736168185A}" srcId="{607C8DAD-2CCC-4B5F-9438-49286B137BD3}" destId="{22057E0D-8C34-40CE-8DEB-E5053F382179}" srcOrd="1" destOrd="0" parTransId="{981FC6E8-2776-422A-9ED8-F4854BCBE5CD}" sibTransId="{4D4F5162-B891-48A2-AFF1-81C4AF582959}"/>
    <dgm:cxn modelId="{A5E21526-B45C-4899-9FCC-2EA9D7197BA1}" srcId="{688556A2-1EA3-404C-8229-474073B215EF}" destId="{2B6A5771-C0A7-4666-9F13-247CB5013FAC}" srcOrd="2" destOrd="0" parTransId="{0D287736-40F7-4D01-9196-A8666BAC2E52}" sibTransId="{F7F73A37-8A88-4662-AC9F-9B7E50F91CC1}"/>
    <dgm:cxn modelId="{E94ECF2A-6E7D-4226-9AA9-3FA0C91BE62F}" type="presOf" srcId="{A285209E-6F5A-47C2-94B8-03A39FF79BC0}" destId="{21EF0F4D-902F-420A-AAF7-AAFD85CB8829}" srcOrd="0" destOrd="3" presId="urn:microsoft.com/office/officeart/2005/8/layout/default#1"/>
    <dgm:cxn modelId="{E14CFF39-8B39-4C57-966B-BBDDCE41610E}" type="presOf" srcId="{607C8DAD-2CCC-4B5F-9438-49286B137BD3}" destId="{11BD3DC4-7B5F-44AB-A9F3-ED2290E97284}" srcOrd="0" destOrd="0" presId="urn:microsoft.com/office/officeart/2005/8/layout/default#1"/>
    <dgm:cxn modelId="{112D9342-0DBC-4116-AB2B-265AFE16FA44}" srcId="{1E326FED-E5AF-46FB-A0E1-3E2AD37C7D2D}" destId="{499236FE-C9D3-47CC-B247-B405040E5987}" srcOrd="1" destOrd="0" parTransId="{75310C5D-7F75-4CAC-92F1-819AB81F8B79}" sibTransId="{6677C2A7-EF68-469B-B596-28F0AB07A8DC}"/>
    <dgm:cxn modelId="{E5B1B879-EC0D-46A5-A24F-28975250E217}" type="presOf" srcId="{2B6A5771-C0A7-4666-9F13-247CB5013FAC}" destId="{869323FB-940D-4EE8-8E39-C52888FA1438}" srcOrd="0" destOrd="3" presId="urn:microsoft.com/office/officeart/2005/8/layout/default#1"/>
    <dgm:cxn modelId="{1C4546E7-7A65-41F5-95A3-B2524FC7517F}" srcId="{607C8DAD-2CCC-4B5F-9438-49286B137BD3}" destId="{688556A2-1EA3-404C-8229-474073B215EF}" srcOrd="2" destOrd="0" parTransId="{455B38E3-9ED7-4BA9-8A3A-D2CFA7B92879}" sibTransId="{1C68A883-EAB8-4689-8F43-84421295C4E6}"/>
    <dgm:cxn modelId="{B6EA0D1D-32FB-4D66-A019-967B95891994}" type="presParOf" srcId="{11BD3DC4-7B5F-44AB-A9F3-ED2290E97284}" destId="{16D14919-EC01-4345-AD76-25811F61BD00}" srcOrd="0" destOrd="0" presId="urn:microsoft.com/office/officeart/2005/8/layout/default#1"/>
    <dgm:cxn modelId="{B4479C3A-9BC0-4314-8CDA-5F3496A20F23}" type="presParOf" srcId="{11BD3DC4-7B5F-44AB-A9F3-ED2290E97284}" destId="{F918CBBE-523E-4B48-8BD1-B78E6595358F}" srcOrd="1" destOrd="0" presId="urn:microsoft.com/office/officeart/2005/8/layout/default#1"/>
    <dgm:cxn modelId="{1F45522B-0350-45DF-AF30-9F1720A4FFCB}" type="presParOf" srcId="{11BD3DC4-7B5F-44AB-A9F3-ED2290E97284}" destId="{21EF0F4D-902F-420A-AAF7-AAFD85CB8829}" srcOrd="2" destOrd="0" presId="urn:microsoft.com/office/officeart/2005/8/layout/default#1"/>
    <dgm:cxn modelId="{0E456610-8187-4A7C-A0A3-10F40D89D3B8}" type="presParOf" srcId="{11BD3DC4-7B5F-44AB-A9F3-ED2290E97284}" destId="{1DB5C08C-D277-4522-9DE6-B721C14A2433}" srcOrd="3" destOrd="0" presId="urn:microsoft.com/office/officeart/2005/8/layout/default#1"/>
    <dgm:cxn modelId="{1EADCB02-AE6C-4EF1-B17B-354EEC338603}" type="presParOf" srcId="{11BD3DC4-7B5F-44AB-A9F3-ED2290E97284}" destId="{869323FB-940D-4EE8-8E39-C52888FA1438}" srcOrd="4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A2259C-9B42-423B-8373-7EE223F9874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BDD889-6402-43B4-85C1-172C4773FD6B}">
      <dgm:prSet phldrT="[Szöveg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hu-HU" dirty="0" smtClean="0"/>
            <a:t>Első lépés</a:t>
          </a:r>
          <a:endParaRPr lang="hu-HU" dirty="0"/>
        </a:p>
      </dgm:t>
    </dgm:pt>
    <dgm:pt modelId="{C87882F9-9F8C-44B1-979A-CE0EC1933B0B}" type="parTrans" cxnId="{5B3BEF05-8FE0-4225-ACE2-7B32D5940B1E}">
      <dgm:prSet/>
      <dgm:spPr/>
      <dgm:t>
        <a:bodyPr/>
        <a:lstStyle/>
        <a:p>
          <a:endParaRPr lang="hu-HU"/>
        </a:p>
      </dgm:t>
    </dgm:pt>
    <dgm:pt modelId="{E7E45EFE-5A25-4286-BDEA-00445C524D44}" type="sibTrans" cxnId="{5B3BEF05-8FE0-4225-ACE2-7B32D5940B1E}">
      <dgm:prSet/>
      <dgm:spPr/>
      <dgm:t>
        <a:bodyPr/>
        <a:lstStyle/>
        <a:p>
          <a:endParaRPr lang="hu-HU"/>
        </a:p>
      </dgm:t>
    </dgm:pt>
    <dgm:pt modelId="{24A11737-12CA-4328-BB16-50DC6BFDF049}">
      <dgm:prSet phldrT="[Szöveg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hu-HU" dirty="0" smtClean="0"/>
            <a:t>Második lépés</a:t>
          </a:r>
          <a:endParaRPr lang="hu-HU" dirty="0"/>
        </a:p>
      </dgm:t>
    </dgm:pt>
    <dgm:pt modelId="{77978D9B-1F40-4CF3-857C-2C9984CB3A15}" type="parTrans" cxnId="{B4DF585F-DAC6-4C16-AF97-DB9375F11A75}">
      <dgm:prSet/>
      <dgm:spPr/>
      <dgm:t>
        <a:bodyPr/>
        <a:lstStyle/>
        <a:p>
          <a:endParaRPr lang="hu-HU"/>
        </a:p>
      </dgm:t>
    </dgm:pt>
    <dgm:pt modelId="{07F1E5F7-897C-4909-88AC-83C1CC42A39A}" type="sibTrans" cxnId="{B4DF585F-DAC6-4C16-AF97-DB9375F11A75}">
      <dgm:prSet/>
      <dgm:spPr/>
      <dgm:t>
        <a:bodyPr/>
        <a:lstStyle/>
        <a:p>
          <a:endParaRPr lang="hu-HU"/>
        </a:p>
      </dgm:t>
    </dgm:pt>
    <dgm:pt modelId="{928F9400-F419-44A4-AE91-1F3C71E9D4A8}">
      <dgm:prSet phldrT="[Szöveg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hu-HU" dirty="0" smtClean="0"/>
            <a:t>Harmadik lépés</a:t>
          </a:r>
          <a:endParaRPr lang="hu-HU" dirty="0"/>
        </a:p>
      </dgm:t>
    </dgm:pt>
    <dgm:pt modelId="{4262B8A3-745C-4858-A437-747ECC097A13}" type="parTrans" cxnId="{1495EE9E-B16D-4394-BC69-7222D357CB41}">
      <dgm:prSet/>
      <dgm:spPr/>
      <dgm:t>
        <a:bodyPr/>
        <a:lstStyle/>
        <a:p>
          <a:endParaRPr lang="hu-HU"/>
        </a:p>
      </dgm:t>
    </dgm:pt>
    <dgm:pt modelId="{2B20DBC4-1702-4089-AC8C-2B30A21AF1F1}" type="sibTrans" cxnId="{1495EE9E-B16D-4394-BC69-7222D357CB41}">
      <dgm:prSet/>
      <dgm:spPr/>
      <dgm:t>
        <a:bodyPr/>
        <a:lstStyle/>
        <a:p>
          <a:endParaRPr lang="hu-HU"/>
        </a:p>
      </dgm:t>
    </dgm:pt>
    <dgm:pt modelId="{94C29E49-19F2-4DBF-A60E-9D5CEE2F18E2}" type="pres">
      <dgm:prSet presAssocID="{2EA2259C-9B42-423B-8373-7EE223F9874F}" presName="CompostProcess" presStyleCnt="0">
        <dgm:presLayoutVars>
          <dgm:dir/>
          <dgm:resizeHandles val="exact"/>
        </dgm:presLayoutVars>
      </dgm:prSet>
      <dgm:spPr/>
    </dgm:pt>
    <dgm:pt modelId="{EA7500E3-3FBE-4922-B19C-B1BD46287996}" type="pres">
      <dgm:prSet presAssocID="{2EA2259C-9B42-423B-8373-7EE223F9874F}" presName="arrow" presStyleLbl="bgShp" presStyleIdx="0" presStyleCnt="1"/>
      <dgm:spPr>
        <a:gradFill flip="none" rotWithShape="1">
          <a:gsLst>
            <a:gs pos="0">
              <a:srgbClr val="046081"/>
            </a:gs>
            <a:gs pos="100000">
              <a:srgbClr val="8BBAD0"/>
            </a:gs>
          </a:gsLst>
          <a:lin ang="10800000" scaled="0"/>
          <a:tileRect/>
        </a:gradFill>
      </dgm:spPr>
    </dgm:pt>
    <dgm:pt modelId="{01725FBF-8D2D-4813-8871-36D47D9339B3}" type="pres">
      <dgm:prSet presAssocID="{2EA2259C-9B42-423B-8373-7EE223F9874F}" presName="linearProcess" presStyleCnt="0"/>
      <dgm:spPr/>
    </dgm:pt>
    <dgm:pt modelId="{E1C7108F-F374-4116-80F2-AA44E94D3647}" type="pres">
      <dgm:prSet presAssocID="{5DBDD889-6402-43B4-85C1-172C4773FD6B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A617804-D78E-4FDC-BC20-941CD5F93524}" type="pres">
      <dgm:prSet presAssocID="{E7E45EFE-5A25-4286-BDEA-00445C524D44}" presName="sibTrans" presStyleCnt="0"/>
      <dgm:spPr/>
    </dgm:pt>
    <dgm:pt modelId="{A9D309AC-CA28-4DAE-9EC3-041EF5525D2C}" type="pres">
      <dgm:prSet presAssocID="{24A11737-12CA-4328-BB16-50DC6BFDF049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B897FB0-B36C-491C-A467-AD38655DE566}" type="pres">
      <dgm:prSet presAssocID="{07F1E5F7-897C-4909-88AC-83C1CC42A39A}" presName="sibTrans" presStyleCnt="0"/>
      <dgm:spPr/>
    </dgm:pt>
    <dgm:pt modelId="{5C0C38CB-BE26-4A38-9712-501EB8B418DC}" type="pres">
      <dgm:prSet presAssocID="{928F9400-F419-44A4-AE91-1F3C71E9D4A8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B4DF585F-DAC6-4C16-AF97-DB9375F11A75}" srcId="{2EA2259C-9B42-423B-8373-7EE223F9874F}" destId="{24A11737-12CA-4328-BB16-50DC6BFDF049}" srcOrd="1" destOrd="0" parTransId="{77978D9B-1F40-4CF3-857C-2C9984CB3A15}" sibTransId="{07F1E5F7-897C-4909-88AC-83C1CC42A39A}"/>
    <dgm:cxn modelId="{5B3BEF05-8FE0-4225-ACE2-7B32D5940B1E}" srcId="{2EA2259C-9B42-423B-8373-7EE223F9874F}" destId="{5DBDD889-6402-43B4-85C1-172C4773FD6B}" srcOrd="0" destOrd="0" parTransId="{C87882F9-9F8C-44B1-979A-CE0EC1933B0B}" sibTransId="{E7E45EFE-5A25-4286-BDEA-00445C524D44}"/>
    <dgm:cxn modelId="{D11C6069-8E2A-495A-8A48-86A89AB2A7CD}" type="presOf" srcId="{928F9400-F419-44A4-AE91-1F3C71E9D4A8}" destId="{5C0C38CB-BE26-4A38-9712-501EB8B418DC}" srcOrd="0" destOrd="0" presId="urn:microsoft.com/office/officeart/2005/8/layout/hProcess9"/>
    <dgm:cxn modelId="{F0B6D1AA-8B88-4964-BD80-FEB902ABCF99}" type="presOf" srcId="{24A11737-12CA-4328-BB16-50DC6BFDF049}" destId="{A9D309AC-CA28-4DAE-9EC3-041EF5525D2C}" srcOrd="0" destOrd="0" presId="urn:microsoft.com/office/officeart/2005/8/layout/hProcess9"/>
    <dgm:cxn modelId="{59FC8F2B-0B73-4554-969E-8C717BBC985E}" type="presOf" srcId="{2EA2259C-9B42-423B-8373-7EE223F9874F}" destId="{94C29E49-19F2-4DBF-A60E-9D5CEE2F18E2}" srcOrd="0" destOrd="0" presId="urn:microsoft.com/office/officeart/2005/8/layout/hProcess9"/>
    <dgm:cxn modelId="{1495EE9E-B16D-4394-BC69-7222D357CB41}" srcId="{2EA2259C-9B42-423B-8373-7EE223F9874F}" destId="{928F9400-F419-44A4-AE91-1F3C71E9D4A8}" srcOrd="2" destOrd="0" parTransId="{4262B8A3-745C-4858-A437-747ECC097A13}" sibTransId="{2B20DBC4-1702-4089-AC8C-2B30A21AF1F1}"/>
    <dgm:cxn modelId="{8D0E110B-D691-4EEB-8436-570AC084510F}" type="presOf" srcId="{5DBDD889-6402-43B4-85C1-172C4773FD6B}" destId="{E1C7108F-F374-4116-80F2-AA44E94D3647}" srcOrd="0" destOrd="0" presId="urn:microsoft.com/office/officeart/2005/8/layout/hProcess9"/>
    <dgm:cxn modelId="{BC3CFD20-1F35-4749-85BA-B9072C4AD322}" type="presParOf" srcId="{94C29E49-19F2-4DBF-A60E-9D5CEE2F18E2}" destId="{EA7500E3-3FBE-4922-B19C-B1BD46287996}" srcOrd="0" destOrd="0" presId="urn:microsoft.com/office/officeart/2005/8/layout/hProcess9"/>
    <dgm:cxn modelId="{96ABCF90-5ECB-4FDB-B501-BE0806033501}" type="presParOf" srcId="{94C29E49-19F2-4DBF-A60E-9D5CEE2F18E2}" destId="{01725FBF-8D2D-4813-8871-36D47D9339B3}" srcOrd="1" destOrd="0" presId="urn:microsoft.com/office/officeart/2005/8/layout/hProcess9"/>
    <dgm:cxn modelId="{1691DFD7-1BDA-44D6-9CBA-0208838A5D67}" type="presParOf" srcId="{01725FBF-8D2D-4813-8871-36D47D9339B3}" destId="{E1C7108F-F374-4116-80F2-AA44E94D3647}" srcOrd="0" destOrd="0" presId="urn:microsoft.com/office/officeart/2005/8/layout/hProcess9"/>
    <dgm:cxn modelId="{0974753C-438C-45E3-8538-034E61C625CC}" type="presParOf" srcId="{01725FBF-8D2D-4813-8871-36D47D9339B3}" destId="{FA617804-D78E-4FDC-BC20-941CD5F93524}" srcOrd="1" destOrd="0" presId="urn:microsoft.com/office/officeart/2005/8/layout/hProcess9"/>
    <dgm:cxn modelId="{5EEDB7DC-E1C9-4B46-A99C-2CB9A842B9D1}" type="presParOf" srcId="{01725FBF-8D2D-4813-8871-36D47D9339B3}" destId="{A9D309AC-CA28-4DAE-9EC3-041EF5525D2C}" srcOrd="2" destOrd="0" presId="urn:microsoft.com/office/officeart/2005/8/layout/hProcess9"/>
    <dgm:cxn modelId="{D71D0C5E-E710-41D8-8FA0-38E765AD39E4}" type="presParOf" srcId="{01725FBF-8D2D-4813-8871-36D47D9339B3}" destId="{FB897FB0-B36C-491C-A467-AD38655DE566}" srcOrd="3" destOrd="0" presId="urn:microsoft.com/office/officeart/2005/8/layout/hProcess9"/>
    <dgm:cxn modelId="{CA27F707-18A2-451B-AED3-2E83CE90EB02}" type="presParOf" srcId="{01725FBF-8D2D-4813-8871-36D47D9339B3}" destId="{5C0C38CB-BE26-4A38-9712-501EB8B418DC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997ACBB-9BD0-4B92-B0E8-5A8A4D1EB70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3C63A792-8743-4BDA-B30F-C5A5206A87BB}">
      <dgm:prSet phldrT="[Szöveg]"/>
      <dgm:spPr>
        <a:solidFill>
          <a:schemeClr val="accent1">
            <a:lumMod val="40000"/>
            <a:lumOff val="60000"/>
          </a:schemeClr>
        </a:solidFill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hu-HU" dirty="0" smtClean="0"/>
            <a:t>„Belebegés” animáció</a:t>
          </a:r>
          <a:endParaRPr lang="hu-HU" dirty="0"/>
        </a:p>
      </dgm:t>
    </dgm:pt>
    <dgm:pt modelId="{151D1CB8-7FD3-4E09-B372-4673BF312039}" type="parTrans" cxnId="{8C816BB1-EB6A-4A1F-ACBA-9C77665B0A68}">
      <dgm:prSet/>
      <dgm:spPr/>
      <dgm:t>
        <a:bodyPr/>
        <a:lstStyle/>
        <a:p>
          <a:endParaRPr lang="hu-HU"/>
        </a:p>
      </dgm:t>
    </dgm:pt>
    <dgm:pt modelId="{FCEC3EB2-BC1F-4DC6-978C-B68080331DF6}" type="sibTrans" cxnId="{8C816BB1-EB6A-4A1F-ACBA-9C77665B0A68}">
      <dgm:prSet/>
      <dgm:spPr/>
      <dgm:t>
        <a:bodyPr/>
        <a:lstStyle/>
        <a:p>
          <a:endParaRPr lang="hu-HU"/>
        </a:p>
      </dgm:t>
    </dgm:pt>
    <dgm:pt modelId="{DFBDEB81-C9BA-497C-9F83-625EF21A9D29}">
      <dgm:prSet phldrT="[Szöveg]"/>
      <dgm:spPr/>
      <dgm:t>
        <a:bodyPr/>
        <a:lstStyle/>
        <a:p>
          <a:r>
            <a:rPr lang="hu-HU" dirty="0" smtClean="0"/>
            <a:t>0,7 mp</a:t>
          </a:r>
          <a:endParaRPr lang="hu-HU" dirty="0"/>
        </a:p>
      </dgm:t>
    </dgm:pt>
    <dgm:pt modelId="{D031B3FA-6F60-4437-B03B-96D838C69B89}" type="parTrans" cxnId="{DFB6C4E1-2435-4271-834F-89302C5E42D6}">
      <dgm:prSet/>
      <dgm:spPr/>
      <dgm:t>
        <a:bodyPr/>
        <a:lstStyle/>
        <a:p>
          <a:endParaRPr lang="hu-HU"/>
        </a:p>
      </dgm:t>
    </dgm:pt>
    <dgm:pt modelId="{FE0B30F0-E7BA-402A-AAF2-08709EDF99D8}" type="sibTrans" cxnId="{DFB6C4E1-2435-4271-834F-89302C5E42D6}">
      <dgm:prSet/>
      <dgm:spPr/>
      <dgm:t>
        <a:bodyPr/>
        <a:lstStyle/>
        <a:p>
          <a:endParaRPr lang="hu-HU"/>
        </a:p>
      </dgm:t>
    </dgm:pt>
    <dgm:pt modelId="{EE83D72B-9F89-42EA-A512-40004929A0E4}">
      <dgm:prSet phldrT="[Szöveg]"/>
      <dgm:spPr/>
      <dgm:t>
        <a:bodyPr/>
        <a:lstStyle/>
        <a:p>
          <a:r>
            <a:rPr lang="hu-HU" dirty="0" smtClean="0"/>
            <a:t>automatikusan</a:t>
          </a:r>
          <a:endParaRPr lang="hu-HU" dirty="0"/>
        </a:p>
      </dgm:t>
    </dgm:pt>
    <dgm:pt modelId="{2A001E4C-2A89-4A8D-9D42-52E00D1D88EC}" type="parTrans" cxnId="{145E60D5-A4EB-4B2C-8EED-458891DAED39}">
      <dgm:prSet/>
      <dgm:spPr/>
      <dgm:t>
        <a:bodyPr/>
        <a:lstStyle/>
        <a:p>
          <a:endParaRPr lang="hu-HU"/>
        </a:p>
      </dgm:t>
    </dgm:pt>
    <dgm:pt modelId="{893042BB-8CD8-4A49-AFB4-85ABF315BF7A}" type="sibTrans" cxnId="{145E60D5-A4EB-4B2C-8EED-458891DAED39}">
      <dgm:prSet/>
      <dgm:spPr/>
      <dgm:t>
        <a:bodyPr/>
        <a:lstStyle/>
        <a:p>
          <a:endParaRPr lang="hu-HU"/>
        </a:p>
      </dgm:t>
    </dgm:pt>
    <dgm:pt modelId="{360EE1B0-2815-494A-8970-04A302F0300D}">
      <dgm:prSet phldrT="[Szöveg]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  <dgm:t>
        <a:bodyPr/>
        <a:lstStyle/>
        <a:p>
          <a:r>
            <a:rPr lang="hu-HU" dirty="0" smtClean="0"/>
            <a:t>2. lépés</a:t>
          </a:r>
          <a:endParaRPr lang="hu-HU" dirty="0"/>
        </a:p>
      </dgm:t>
    </dgm:pt>
    <dgm:pt modelId="{1254F120-909D-478B-A843-2101D2289F57}" type="parTrans" cxnId="{E051ED9E-0B1B-4270-96EB-95AB3C46C957}">
      <dgm:prSet/>
      <dgm:spPr/>
      <dgm:t>
        <a:bodyPr/>
        <a:lstStyle/>
        <a:p>
          <a:endParaRPr lang="hu-HU"/>
        </a:p>
      </dgm:t>
    </dgm:pt>
    <dgm:pt modelId="{CBB30FDA-BC44-46A9-929A-24EB91072279}" type="sibTrans" cxnId="{E051ED9E-0B1B-4270-96EB-95AB3C46C957}">
      <dgm:prSet/>
      <dgm:spPr/>
      <dgm:t>
        <a:bodyPr/>
        <a:lstStyle/>
        <a:p>
          <a:endParaRPr lang="hu-HU"/>
        </a:p>
      </dgm:t>
    </dgm:pt>
    <dgm:pt modelId="{05C114E5-1A73-49C4-BE49-73AAB3068AA2}">
      <dgm:prSet phldrT="[Szöveg]"/>
      <dgm:spPr/>
      <dgm:t>
        <a:bodyPr/>
        <a:lstStyle/>
        <a:p>
          <a:r>
            <a:rPr lang="hu-HU" dirty="0" smtClean="0"/>
            <a:t>Következő részlet1</a:t>
          </a:r>
          <a:endParaRPr lang="hu-HU" dirty="0"/>
        </a:p>
      </dgm:t>
    </dgm:pt>
    <dgm:pt modelId="{06B10099-91A1-4A73-978F-ABEDBC5239EC}" type="parTrans" cxnId="{AC69286E-919E-423B-808A-168AE15E8310}">
      <dgm:prSet/>
      <dgm:spPr/>
      <dgm:t>
        <a:bodyPr/>
        <a:lstStyle/>
        <a:p>
          <a:endParaRPr lang="hu-HU"/>
        </a:p>
      </dgm:t>
    </dgm:pt>
    <dgm:pt modelId="{215CEE08-7C05-48ED-BF6C-DCDBF1F37459}" type="sibTrans" cxnId="{AC69286E-919E-423B-808A-168AE15E8310}">
      <dgm:prSet/>
      <dgm:spPr/>
      <dgm:t>
        <a:bodyPr/>
        <a:lstStyle/>
        <a:p>
          <a:endParaRPr lang="hu-HU"/>
        </a:p>
      </dgm:t>
    </dgm:pt>
    <dgm:pt modelId="{472A4ED0-634F-45C8-98C0-35F10C2A7B67}">
      <dgm:prSet phldrT="[Szöveg]"/>
      <dgm:spPr/>
      <dgm:t>
        <a:bodyPr/>
        <a:lstStyle/>
        <a:p>
          <a:r>
            <a:rPr lang="hu-HU" dirty="0" smtClean="0"/>
            <a:t>Következő részlet2</a:t>
          </a:r>
          <a:endParaRPr lang="hu-HU" dirty="0"/>
        </a:p>
      </dgm:t>
    </dgm:pt>
    <dgm:pt modelId="{B6088F29-5028-4585-BCAE-A724B3CDFF1D}" type="parTrans" cxnId="{07E2BE4D-DDB3-4D4C-B04F-571C27507DFD}">
      <dgm:prSet/>
      <dgm:spPr/>
      <dgm:t>
        <a:bodyPr/>
        <a:lstStyle/>
        <a:p>
          <a:endParaRPr lang="hu-HU"/>
        </a:p>
      </dgm:t>
    </dgm:pt>
    <dgm:pt modelId="{F45DF846-CE66-4CF7-9A6E-2FFA27CD148F}" type="sibTrans" cxnId="{07E2BE4D-DDB3-4D4C-B04F-571C27507DFD}">
      <dgm:prSet/>
      <dgm:spPr/>
      <dgm:t>
        <a:bodyPr/>
        <a:lstStyle/>
        <a:p>
          <a:endParaRPr lang="hu-HU"/>
        </a:p>
      </dgm:t>
    </dgm:pt>
    <dgm:pt modelId="{8C7286F1-0ED9-4445-B1D1-F274E3DF1D0C}">
      <dgm:prSet phldrT="[Szöveg]"/>
      <dgm:spPr/>
      <dgm:t>
        <a:bodyPr/>
        <a:lstStyle/>
        <a:p>
          <a:r>
            <a:rPr lang="hu-HU" dirty="0" smtClean="0"/>
            <a:t>3. Lépés</a:t>
          </a:r>
          <a:endParaRPr lang="hu-HU" dirty="0"/>
        </a:p>
      </dgm:t>
    </dgm:pt>
    <dgm:pt modelId="{7088C767-BCD8-426D-9DA8-3A308FA93D26}" type="parTrans" cxnId="{073D650C-03CA-407F-9C45-EBE99E285449}">
      <dgm:prSet/>
      <dgm:spPr/>
      <dgm:t>
        <a:bodyPr/>
        <a:lstStyle/>
        <a:p>
          <a:endParaRPr lang="hu-HU"/>
        </a:p>
      </dgm:t>
    </dgm:pt>
    <dgm:pt modelId="{4FD69DA3-2599-4C0E-A238-AB211B1E7881}" type="sibTrans" cxnId="{073D650C-03CA-407F-9C45-EBE99E285449}">
      <dgm:prSet/>
      <dgm:spPr/>
      <dgm:t>
        <a:bodyPr/>
        <a:lstStyle/>
        <a:p>
          <a:endParaRPr lang="hu-HU"/>
        </a:p>
      </dgm:t>
    </dgm:pt>
    <dgm:pt modelId="{B7455CCE-5644-444B-9515-CF8EE0D16044}">
      <dgm:prSet phldrT="[Szöveg]"/>
      <dgm:spPr/>
      <dgm:t>
        <a:bodyPr/>
        <a:lstStyle/>
        <a:p>
          <a:r>
            <a:rPr lang="hu-HU" dirty="0" smtClean="0"/>
            <a:t>Utolsó részlet1</a:t>
          </a:r>
          <a:endParaRPr lang="hu-HU" dirty="0"/>
        </a:p>
      </dgm:t>
    </dgm:pt>
    <dgm:pt modelId="{762684B5-B06A-44B7-9392-AEAEFE75A185}" type="parTrans" cxnId="{88DA13D0-1ECB-4284-B304-014A7C9AC5DA}">
      <dgm:prSet/>
      <dgm:spPr/>
      <dgm:t>
        <a:bodyPr/>
        <a:lstStyle/>
        <a:p>
          <a:endParaRPr lang="hu-HU"/>
        </a:p>
      </dgm:t>
    </dgm:pt>
    <dgm:pt modelId="{AFFEABD5-9C9A-4C0D-81AE-B9F336B6CFD6}" type="sibTrans" cxnId="{88DA13D0-1ECB-4284-B304-014A7C9AC5DA}">
      <dgm:prSet/>
      <dgm:spPr/>
      <dgm:t>
        <a:bodyPr/>
        <a:lstStyle/>
        <a:p>
          <a:endParaRPr lang="hu-HU"/>
        </a:p>
      </dgm:t>
    </dgm:pt>
    <dgm:pt modelId="{48895575-5B59-4F49-A94A-2735760ED01E}">
      <dgm:prSet phldrT="[Szöveg]"/>
      <dgm:spPr/>
      <dgm:t>
        <a:bodyPr/>
        <a:lstStyle/>
        <a:p>
          <a:r>
            <a:rPr lang="hu-HU" dirty="0" smtClean="0"/>
            <a:t>Utolsó részlet2</a:t>
          </a:r>
          <a:endParaRPr lang="hu-HU" dirty="0"/>
        </a:p>
      </dgm:t>
    </dgm:pt>
    <dgm:pt modelId="{8DFC75A2-DBDE-462C-84B2-54D0A16FD889}" type="parTrans" cxnId="{B1F5AF52-2C58-49FC-B711-583E37495CCF}">
      <dgm:prSet/>
      <dgm:spPr/>
      <dgm:t>
        <a:bodyPr/>
        <a:lstStyle/>
        <a:p>
          <a:endParaRPr lang="hu-HU"/>
        </a:p>
      </dgm:t>
    </dgm:pt>
    <dgm:pt modelId="{0F14692A-9222-4F0D-8BDA-2A289C036814}" type="sibTrans" cxnId="{B1F5AF52-2C58-49FC-B711-583E37495CCF}">
      <dgm:prSet/>
      <dgm:spPr/>
      <dgm:t>
        <a:bodyPr/>
        <a:lstStyle/>
        <a:p>
          <a:endParaRPr lang="hu-HU"/>
        </a:p>
      </dgm:t>
    </dgm:pt>
    <dgm:pt modelId="{AA9648DB-85B6-45D8-AD0F-20FB2AC03DDC}" type="pres">
      <dgm:prSet presAssocID="{E997ACBB-9BD0-4B92-B0E8-5A8A4D1EB70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D6399233-758F-4771-878F-C6E335E14F66}" type="pres">
      <dgm:prSet presAssocID="{3C63A792-8743-4BDA-B30F-C5A5206A87BB}" presName="composite" presStyleCnt="0"/>
      <dgm:spPr/>
    </dgm:pt>
    <dgm:pt modelId="{1359654A-5DD8-459E-9362-2BEC30914060}" type="pres">
      <dgm:prSet presAssocID="{3C63A792-8743-4BDA-B30F-C5A5206A87BB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D4EAFB9-8995-438F-994B-BB49E13D292E}" type="pres">
      <dgm:prSet presAssocID="{3C63A792-8743-4BDA-B30F-C5A5206A87BB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2A6E9DF-C8DF-44E0-B3AE-38DF33985502}" type="pres">
      <dgm:prSet presAssocID="{FCEC3EB2-BC1F-4DC6-978C-B68080331DF6}" presName="sp" presStyleCnt="0"/>
      <dgm:spPr/>
    </dgm:pt>
    <dgm:pt modelId="{C4DDBE97-1F2B-437E-92F4-BAEDB695AFB9}" type="pres">
      <dgm:prSet presAssocID="{360EE1B0-2815-494A-8970-04A302F0300D}" presName="composite" presStyleCnt="0"/>
      <dgm:spPr/>
    </dgm:pt>
    <dgm:pt modelId="{07BB2894-47F7-4A19-AA48-897791ECA5FB}" type="pres">
      <dgm:prSet presAssocID="{360EE1B0-2815-494A-8970-04A302F0300D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E1CC8473-C4B2-4239-B943-1EAFB28247B9}" type="pres">
      <dgm:prSet presAssocID="{360EE1B0-2815-494A-8970-04A302F0300D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E9EF89DE-5894-4A6B-A6B2-88383E7667FF}" type="pres">
      <dgm:prSet presAssocID="{CBB30FDA-BC44-46A9-929A-24EB91072279}" presName="sp" presStyleCnt="0"/>
      <dgm:spPr/>
    </dgm:pt>
    <dgm:pt modelId="{7743A98A-76E6-4E7F-98B6-D2769DC151E9}" type="pres">
      <dgm:prSet presAssocID="{8C7286F1-0ED9-4445-B1D1-F274E3DF1D0C}" presName="composite" presStyleCnt="0"/>
      <dgm:spPr/>
    </dgm:pt>
    <dgm:pt modelId="{2AD7C42B-3533-4D51-82C9-99EB0B32D80E}" type="pres">
      <dgm:prSet presAssocID="{8C7286F1-0ED9-4445-B1D1-F274E3DF1D0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527001D-FE6F-4D38-AAA9-FEF88DD57CB6}" type="pres">
      <dgm:prSet presAssocID="{8C7286F1-0ED9-4445-B1D1-F274E3DF1D0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1090B257-5B7B-4E52-B280-CBCA9C7296F4}" type="presOf" srcId="{B7455CCE-5644-444B-9515-CF8EE0D16044}" destId="{2527001D-FE6F-4D38-AAA9-FEF88DD57CB6}" srcOrd="0" destOrd="0" presId="urn:microsoft.com/office/officeart/2005/8/layout/chevron2"/>
    <dgm:cxn modelId="{A01D8C45-E61D-439A-A6EE-12604E10D530}" type="presOf" srcId="{EE83D72B-9F89-42EA-A512-40004929A0E4}" destId="{9D4EAFB9-8995-438F-994B-BB49E13D292E}" srcOrd="0" destOrd="1" presId="urn:microsoft.com/office/officeart/2005/8/layout/chevron2"/>
    <dgm:cxn modelId="{BDCDACB5-2E67-4E3C-824A-92AD34A94D13}" type="presOf" srcId="{05C114E5-1A73-49C4-BE49-73AAB3068AA2}" destId="{E1CC8473-C4B2-4239-B943-1EAFB28247B9}" srcOrd="0" destOrd="0" presId="urn:microsoft.com/office/officeart/2005/8/layout/chevron2"/>
    <dgm:cxn modelId="{07E2BE4D-DDB3-4D4C-B04F-571C27507DFD}" srcId="{360EE1B0-2815-494A-8970-04A302F0300D}" destId="{472A4ED0-634F-45C8-98C0-35F10C2A7B67}" srcOrd="1" destOrd="0" parTransId="{B6088F29-5028-4585-BCAE-A724B3CDFF1D}" sibTransId="{F45DF846-CE66-4CF7-9A6E-2FFA27CD148F}"/>
    <dgm:cxn modelId="{DFB6C4E1-2435-4271-834F-89302C5E42D6}" srcId="{3C63A792-8743-4BDA-B30F-C5A5206A87BB}" destId="{DFBDEB81-C9BA-497C-9F83-625EF21A9D29}" srcOrd="0" destOrd="0" parTransId="{D031B3FA-6F60-4437-B03B-96D838C69B89}" sibTransId="{FE0B30F0-E7BA-402A-AAF2-08709EDF99D8}"/>
    <dgm:cxn modelId="{8A14CD6B-72E1-4437-8411-3EC02472C1EA}" type="presOf" srcId="{8C7286F1-0ED9-4445-B1D1-F274E3DF1D0C}" destId="{2AD7C42B-3533-4D51-82C9-99EB0B32D80E}" srcOrd="0" destOrd="0" presId="urn:microsoft.com/office/officeart/2005/8/layout/chevron2"/>
    <dgm:cxn modelId="{B1F5AF52-2C58-49FC-B711-583E37495CCF}" srcId="{8C7286F1-0ED9-4445-B1D1-F274E3DF1D0C}" destId="{48895575-5B59-4F49-A94A-2735760ED01E}" srcOrd="1" destOrd="0" parTransId="{8DFC75A2-DBDE-462C-84B2-54D0A16FD889}" sibTransId="{0F14692A-9222-4F0D-8BDA-2A289C036814}"/>
    <dgm:cxn modelId="{751C8F18-B60E-4A95-BB67-1CCB39FA88C8}" type="presOf" srcId="{472A4ED0-634F-45C8-98C0-35F10C2A7B67}" destId="{E1CC8473-C4B2-4239-B943-1EAFB28247B9}" srcOrd="0" destOrd="1" presId="urn:microsoft.com/office/officeart/2005/8/layout/chevron2"/>
    <dgm:cxn modelId="{073D650C-03CA-407F-9C45-EBE99E285449}" srcId="{E997ACBB-9BD0-4B92-B0E8-5A8A4D1EB707}" destId="{8C7286F1-0ED9-4445-B1D1-F274E3DF1D0C}" srcOrd="2" destOrd="0" parTransId="{7088C767-BCD8-426D-9DA8-3A308FA93D26}" sibTransId="{4FD69DA3-2599-4C0E-A238-AB211B1E7881}"/>
    <dgm:cxn modelId="{47EE231F-B7DA-4CF9-9D4A-6FAB194743D6}" type="presOf" srcId="{DFBDEB81-C9BA-497C-9F83-625EF21A9D29}" destId="{9D4EAFB9-8995-438F-994B-BB49E13D292E}" srcOrd="0" destOrd="0" presId="urn:microsoft.com/office/officeart/2005/8/layout/chevron2"/>
    <dgm:cxn modelId="{88DA13D0-1ECB-4284-B304-014A7C9AC5DA}" srcId="{8C7286F1-0ED9-4445-B1D1-F274E3DF1D0C}" destId="{B7455CCE-5644-444B-9515-CF8EE0D16044}" srcOrd="0" destOrd="0" parTransId="{762684B5-B06A-44B7-9392-AEAEFE75A185}" sibTransId="{AFFEABD5-9C9A-4C0D-81AE-B9F336B6CFD6}"/>
    <dgm:cxn modelId="{83CBD2D3-8467-41BF-8BAF-75E123F26DB6}" type="presOf" srcId="{3C63A792-8743-4BDA-B30F-C5A5206A87BB}" destId="{1359654A-5DD8-459E-9362-2BEC30914060}" srcOrd="0" destOrd="0" presId="urn:microsoft.com/office/officeart/2005/8/layout/chevron2"/>
    <dgm:cxn modelId="{E051ED9E-0B1B-4270-96EB-95AB3C46C957}" srcId="{E997ACBB-9BD0-4B92-B0E8-5A8A4D1EB707}" destId="{360EE1B0-2815-494A-8970-04A302F0300D}" srcOrd="1" destOrd="0" parTransId="{1254F120-909D-478B-A843-2101D2289F57}" sibTransId="{CBB30FDA-BC44-46A9-929A-24EB91072279}"/>
    <dgm:cxn modelId="{AC69286E-919E-423B-808A-168AE15E8310}" srcId="{360EE1B0-2815-494A-8970-04A302F0300D}" destId="{05C114E5-1A73-49C4-BE49-73AAB3068AA2}" srcOrd="0" destOrd="0" parTransId="{06B10099-91A1-4A73-978F-ABEDBC5239EC}" sibTransId="{215CEE08-7C05-48ED-BF6C-DCDBF1F37459}"/>
    <dgm:cxn modelId="{145E60D5-A4EB-4B2C-8EED-458891DAED39}" srcId="{3C63A792-8743-4BDA-B30F-C5A5206A87BB}" destId="{EE83D72B-9F89-42EA-A512-40004929A0E4}" srcOrd="1" destOrd="0" parTransId="{2A001E4C-2A89-4A8D-9D42-52E00D1D88EC}" sibTransId="{893042BB-8CD8-4A49-AFB4-85ABF315BF7A}"/>
    <dgm:cxn modelId="{8C816BB1-EB6A-4A1F-ACBA-9C77665B0A68}" srcId="{E997ACBB-9BD0-4B92-B0E8-5A8A4D1EB707}" destId="{3C63A792-8743-4BDA-B30F-C5A5206A87BB}" srcOrd="0" destOrd="0" parTransId="{151D1CB8-7FD3-4E09-B372-4673BF312039}" sibTransId="{FCEC3EB2-BC1F-4DC6-978C-B68080331DF6}"/>
    <dgm:cxn modelId="{CD3AF41D-558E-4CE4-B8C4-029A88E352B1}" type="presOf" srcId="{48895575-5B59-4F49-A94A-2735760ED01E}" destId="{2527001D-FE6F-4D38-AAA9-FEF88DD57CB6}" srcOrd="0" destOrd="1" presId="urn:microsoft.com/office/officeart/2005/8/layout/chevron2"/>
    <dgm:cxn modelId="{1A34BD72-732E-44CC-A683-5D7D6D52F53E}" type="presOf" srcId="{E997ACBB-9BD0-4B92-B0E8-5A8A4D1EB707}" destId="{AA9648DB-85B6-45D8-AD0F-20FB2AC03DDC}" srcOrd="0" destOrd="0" presId="urn:microsoft.com/office/officeart/2005/8/layout/chevron2"/>
    <dgm:cxn modelId="{04437F79-AAF1-4E8C-AB6B-FFA79019FD4B}" type="presOf" srcId="{360EE1B0-2815-494A-8970-04A302F0300D}" destId="{07BB2894-47F7-4A19-AA48-897791ECA5FB}" srcOrd="0" destOrd="0" presId="urn:microsoft.com/office/officeart/2005/8/layout/chevron2"/>
    <dgm:cxn modelId="{C9AE5FB1-9ED0-4FF6-8054-FAB86FE96564}" type="presParOf" srcId="{AA9648DB-85B6-45D8-AD0F-20FB2AC03DDC}" destId="{D6399233-758F-4771-878F-C6E335E14F66}" srcOrd="0" destOrd="0" presId="urn:microsoft.com/office/officeart/2005/8/layout/chevron2"/>
    <dgm:cxn modelId="{5E8104E1-3A82-4AA3-B0FF-C8AB5495FD1E}" type="presParOf" srcId="{D6399233-758F-4771-878F-C6E335E14F66}" destId="{1359654A-5DD8-459E-9362-2BEC30914060}" srcOrd="0" destOrd="0" presId="urn:microsoft.com/office/officeart/2005/8/layout/chevron2"/>
    <dgm:cxn modelId="{2E53D1D9-12BF-4B3E-9ED0-697E26199896}" type="presParOf" srcId="{D6399233-758F-4771-878F-C6E335E14F66}" destId="{9D4EAFB9-8995-438F-994B-BB49E13D292E}" srcOrd="1" destOrd="0" presId="urn:microsoft.com/office/officeart/2005/8/layout/chevron2"/>
    <dgm:cxn modelId="{2DDC34B2-C598-4F7A-9AA9-8BFD8368CD51}" type="presParOf" srcId="{AA9648DB-85B6-45D8-AD0F-20FB2AC03DDC}" destId="{B2A6E9DF-C8DF-44E0-B3AE-38DF33985502}" srcOrd="1" destOrd="0" presId="urn:microsoft.com/office/officeart/2005/8/layout/chevron2"/>
    <dgm:cxn modelId="{8779EC7D-DB17-4980-83B6-B5275EEA0A33}" type="presParOf" srcId="{AA9648DB-85B6-45D8-AD0F-20FB2AC03DDC}" destId="{C4DDBE97-1F2B-437E-92F4-BAEDB695AFB9}" srcOrd="2" destOrd="0" presId="urn:microsoft.com/office/officeart/2005/8/layout/chevron2"/>
    <dgm:cxn modelId="{8DA5AB12-0086-49A4-B037-EBFAE1CDB721}" type="presParOf" srcId="{C4DDBE97-1F2B-437E-92F4-BAEDB695AFB9}" destId="{07BB2894-47F7-4A19-AA48-897791ECA5FB}" srcOrd="0" destOrd="0" presId="urn:microsoft.com/office/officeart/2005/8/layout/chevron2"/>
    <dgm:cxn modelId="{F5516270-7F8D-4AC5-A854-8641C8F907F0}" type="presParOf" srcId="{C4DDBE97-1F2B-437E-92F4-BAEDB695AFB9}" destId="{E1CC8473-C4B2-4239-B943-1EAFB28247B9}" srcOrd="1" destOrd="0" presId="urn:microsoft.com/office/officeart/2005/8/layout/chevron2"/>
    <dgm:cxn modelId="{3C2A1FC2-74CE-4811-BB68-20C024DD9C53}" type="presParOf" srcId="{AA9648DB-85B6-45D8-AD0F-20FB2AC03DDC}" destId="{E9EF89DE-5894-4A6B-A6B2-88383E7667FF}" srcOrd="3" destOrd="0" presId="urn:microsoft.com/office/officeart/2005/8/layout/chevron2"/>
    <dgm:cxn modelId="{05AE47D9-E4B1-4374-B6AB-68DDAFA585BD}" type="presParOf" srcId="{AA9648DB-85B6-45D8-AD0F-20FB2AC03DDC}" destId="{7743A98A-76E6-4E7F-98B6-D2769DC151E9}" srcOrd="4" destOrd="0" presId="urn:microsoft.com/office/officeart/2005/8/layout/chevron2"/>
    <dgm:cxn modelId="{41384143-12A8-499F-87A5-EBB90A00AFB3}" type="presParOf" srcId="{7743A98A-76E6-4E7F-98B6-D2769DC151E9}" destId="{2AD7C42B-3533-4D51-82C9-99EB0B32D80E}" srcOrd="0" destOrd="0" presId="urn:microsoft.com/office/officeart/2005/8/layout/chevron2"/>
    <dgm:cxn modelId="{612BFBB8-8B4E-4E43-BF99-3A1618B76823}" type="presParOf" srcId="{7743A98A-76E6-4E7F-98B6-D2769DC151E9}" destId="{2527001D-FE6F-4D38-AAA9-FEF88DD57CB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D044A94-917C-4936-A5E0-D6657FC3CFD8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52F86C1E-565A-4F1C-94FA-B6BD84D95D1E}">
      <dgm:prSet phldrT="[Szöveg]"/>
      <dgm:spPr>
        <a:gradFill flip="none" rotWithShape="1">
          <a:gsLst>
            <a:gs pos="0">
              <a:schemeClr val="accent6">
                <a:lumMod val="75000"/>
              </a:schemeClr>
            </a:gs>
            <a:gs pos="100000">
              <a:schemeClr val="accent6">
                <a:lumMod val="75000"/>
              </a:schemeClr>
            </a:gs>
            <a:gs pos="56000">
              <a:schemeClr val="accent6">
                <a:lumMod val="60000"/>
                <a:lumOff val="4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dgm:spPr>
      <dgm:t>
        <a:bodyPr/>
        <a:lstStyle/>
        <a:p>
          <a:r>
            <a:rPr lang="hu-HU" dirty="0" smtClean="0"/>
            <a:t>Zöld alkotóelem</a:t>
          </a:r>
          <a:endParaRPr lang="hu-HU" dirty="0"/>
        </a:p>
      </dgm:t>
    </dgm:pt>
    <dgm:pt modelId="{9326E207-F178-4ADE-8AED-59E712D23D3C}" type="parTrans" cxnId="{ABEE37F2-E4D7-4346-A8B1-63C7F91C7BA1}">
      <dgm:prSet/>
      <dgm:spPr/>
      <dgm:t>
        <a:bodyPr/>
        <a:lstStyle/>
        <a:p>
          <a:endParaRPr lang="hu-HU"/>
        </a:p>
      </dgm:t>
    </dgm:pt>
    <dgm:pt modelId="{7EFFB975-3583-41E3-BB3D-D74F1C4A9AE3}" type="sibTrans" cxnId="{ABEE37F2-E4D7-4346-A8B1-63C7F91C7BA1}">
      <dgm:prSet/>
      <dgm:spPr/>
      <dgm:t>
        <a:bodyPr/>
        <a:lstStyle/>
        <a:p>
          <a:endParaRPr lang="hu-HU"/>
        </a:p>
      </dgm:t>
    </dgm:pt>
    <dgm:pt modelId="{B2A0F74E-1F2E-4FAC-B4E8-2FA4CAA767AA}">
      <dgm:prSet phldrT="[Szöveg]"/>
      <dgm:spPr>
        <a:gradFill rotWithShape="0">
          <a:gsLst>
            <a:gs pos="0">
              <a:schemeClr val="accent5"/>
            </a:gs>
            <a:gs pos="100000">
              <a:schemeClr val="accent5"/>
            </a:gs>
            <a:gs pos="56000">
              <a:schemeClr val="accent5">
                <a:lumMod val="60000"/>
                <a:lumOff val="40000"/>
              </a:schemeClr>
            </a:gs>
          </a:gsLst>
          <a:path path="circle">
            <a:fillToRect r="100000" b="100000"/>
          </a:path>
        </a:gradFill>
      </dgm:spPr>
      <dgm:t>
        <a:bodyPr/>
        <a:lstStyle/>
        <a:p>
          <a:r>
            <a:rPr lang="hu-HU" dirty="0" smtClean="0"/>
            <a:t>Másik alkotóelem</a:t>
          </a:r>
          <a:endParaRPr lang="hu-HU" dirty="0"/>
        </a:p>
      </dgm:t>
    </dgm:pt>
    <dgm:pt modelId="{AB5CF262-5720-471E-910D-685B65F32627}" type="parTrans" cxnId="{91C5183A-135B-4212-8533-59F3855E6CD7}">
      <dgm:prSet/>
      <dgm:spPr/>
      <dgm:t>
        <a:bodyPr/>
        <a:lstStyle/>
        <a:p>
          <a:endParaRPr lang="hu-HU"/>
        </a:p>
      </dgm:t>
    </dgm:pt>
    <dgm:pt modelId="{F0F95110-B11E-435E-95EE-AA345C4A7056}" type="sibTrans" cxnId="{91C5183A-135B-4212-8533-59F3855E6CD7}">
      <dgm:prSet/>
      <dgm:spPr/>
      <dgm:t>
        <a:bodyPr/>
        <a:lstStyle/>
        <a:p>
          <a:endParaRPr lang="hu-HU"/>
        </a:p>
      </dgm:t>
    </dgm:pt>
    <dgm:pt modelId="{8B03D9AD-74BB-43FE-B2A5-15611779D666}">
      <dgm:prSet phldrT="[Szöveg]"/>
      <dgm:spPr>
        <a:gradFill rotWithShape="0">
          <a:gsLst>
            <a:gs pos="0">
              <a:schemeClr val="accent2"/>
            </a:gs>
            <a:gs pos="100000">
              <a:schemeClr val="accent2"/>
            </a:gs>
            <a:gs pos="56000">
              <a:schemeClr val="accent2">
                <a:lumMod val="60000"/>
                <a:lumOff val="40000"/>
              </a:schemeClr>
            </a:gs>
          </a:gsLst>
          <a:path path="circle">
            <a:fillToRect r="100000" b="100000"/>
          </a:path>
        </a:gradFill>
      </dgm:spPr>
      <dgm:t>
        <a:bodyPr/>
        <a:lstStyle/>
        <a:p>
          <a:r>
            <a:rPr lang="hu-HU" dirty="0" smtClean="0"/>
            <a:t>A kis párbeszéd ablakban lehet szöveget írni</a:t>
          </a:r>
          <a:endParaRPr lang="hu-HU" dirty="0"/>
        </a:p>
      </dgm:t>
    </dgm:pt>
    <dgm:pt modelId="{A83F3419-1FE9-43EB-8902-F366CB25B118}" type="parTrans" cxnId="{EC00403F-A864-4DEE-B506-B8EB3827AB72}">
      <dgm:prSet/>
      <dgm:spPr/>
      <dgm:t>
        <a:bodyPr/>
        <a:lstStyle/>
        <a:p>
          <a:endParaRPr lang="hu-HU"/>
        </a:p>
      </dgm:t>
    </dgm:pt>
    <dgm:pt modelId="{4BA55F0B-03CD-4F5C-AD6C-AC015FE67E1B}" type="sibTrans" cxnId="{EC00403F-A864-4DEE-B506-B8EB3827AB72}">
      <dgm:prSet/>
      <dgm:spPr/>
      <dgm:t>
        <a:bodyPr/>
        <a:lstStyle/>
        <a:p>
          <a:endParaRPr lang="hu-HU"/>
        </a:p>
      </dgm:t>
    </dgm:pt>
    <dgm:pt modelId="{95D14406-4B24-45F9-901F-82AA775626B0}">
      <dgm:prSet phldrT="[Szöveg]"/>
      <dgm:spPr>
        <a:gradFill rotWithShape="0">
          <a:gsLst>
            <a:gs pos="0">
              <a:schemeClr val="accent2"/>
            </a:gs>
            <a:gs pos="100000">
              <a:schemeClr val="accent2"/>
            </a:gs>
            <a:gs pos="56000">
              <a:schemeClr val="accent2">
                <a:lumMod val="60000"/>
                <a:lumOff val="40000"/>
              </a:schemeClr>
            </a:gs>
          </a:gsLst>
          <a:path path="circle">
            <a:fillToRect r="100000" b="100000"/>
          </a:path>
        </a:gradFill>
      </dgm:spPr>
      <dgm:t>
        <a:bodyPr/>
        <a:lstStyle/>
        <a:p>
          <a:r>
            <a:rPr lang="hu-HU" dirty="0" smtClean="0"/>
            <a:t>Színezni, formázni jobb gombbal lehet</a:t>
          </a:r>
          <a:endParaRPr lang="hu-HU" dirty="0"/>
        </a:p>
      </dgm:t>
    </dgm:pt>
    <dgm:pt modelId="{07196DE1-3064-4517-9306-20251247BDA5}" type="parTrans" cxnId="{8963E86C-AA88-4E37-9A3F-90C4AB0D6B48}">
      <dgm:prSet/>
      <dgm:spPr/>
      <dgm:t>
        <a:bodyPr/>
        <a:lstStyle/>
        <a:p>
          <a:endParaRPr lang="hu-HU"/>
        </a:p>
      </dgm:t>
    </dgm:pt>
    <dgm:pt modelId="{6D315645-8E56-42B7-86E2-E0E2A75FFA92}" type="sibTrans" cxnId="{8963E86C-AA88-4E37-9A3F-90C4AB0D6B48}">
      <dgm:prSet/>
      <dgm:spPr/>
      <dgm:t>
        <a:bodyPr/>
        <a:lstStyle/>
        <a:p>
          <a:endParaRPr lang="hu-HU"/>
        </a:p>
      </dgm:t>
    </dgm:pt>
    <dgm:pt modelId="{C9BEBCA9-5E3B-4CF9-BA11-3381AC8095B4}">
      <dgm:prSet phldrT="[Szöveg]"/>
      <dgm:spPr>
        <a:gradFill rotWithShape="0">
          <a:gsLst>
            <a:gs pos="0">
              <a:schemeClr val="accent2"/>
            </a:gs>
            <a:gs pos="100000">
              <a:schemeClr val="accent2"/>
            </a:gs>
            <a:gs pos="56000">
              <a:schemeClr val="accent2">
                <a:lumMod val="60000"/>
                <a:lumOff val="40000"/>
              </a:schemeClr>
            </a:gs>
          </a:gsLst>
          <a:path path="circle">
            <a:fillToRect r="100000" b="100000"/>
          </a:path>
        </a:gradFill>
      </dgm:spPr>
      <dgm:t>
        <a:bodyPr/>
        <a:lstStyle/>
        <a:p>
          <a:r>
            <a:rPr lang="hu-HU" dirty="0" smtClean="0"/>
            <a:t>Egyik alkotóelem</a:t>
          </a:r>
          <a:endParaRPr lang="hu-HU" dirty="0"/>
        </a:p>
      </dgm:t>
    </dgm:pt>
    <dgm:pt modelId="{8114BD12-F507-40FA-8FB0-CCF810896ABD}" type="sibTrans" cxnId="{F82C9E9E-DED3-4CF3-A20A-D9A6AB958DB8}">
      <dgm:prSet/>
      <dgm:spPr/>
      <dgm:t>
        <a:bodyPr/>
        <a:lstStyle/>
        <a:p>
          <a:endParaRPr lang="hu-HU"/>
        </a:p>
      </dgm:t>
    </dgm:pt>
    <dgm:pt modelId="{1ADBDD90-D6C6-447D-AA7D-1CAED79661B8}" type="parTrans" cxnId="{F82C9E9E-DED3-4CF3-A20A-D9A6AB958DB8}">
      <dgm:prSet/>
      <dgm:spPr/>
      <dgm:t>
        <a:bodyPr/>
        <a:lstStyle/>
        <a:p>
          <a:endParaRPr lang="hu-HU"/>
        </a:p>
      </dgm:t>
    </dgm:pt>
    <dgm:pt modelId="{B153F9A7-1C3A-4A9C-B7EC-3493A5002574}">
      <dgm:prSet phldrT="[Szöveg]"/>
      <dgm:spPr>
        <a:gradFill rotWithShape="0">
          <a:gsLst>
            <a:gs pos="0">
              <a:schemeClr val="accent5"/>
            </a:gs>
            <a:gs pos="100000">
              <a:schemeClr val="accent5"/>
            </a:gs>
            <a:gs pos="56000">
              <a:schemeClr val="accent5">
                <a:lumMod val="60000"/>
                <a:lumOff val="40000"/>
              </a:schemeClr>
            </a:gs>
          </a:gsLst>
          <a:path path="circle">
            <a:fillToRect r="100000" b="100000"/>
          </a:path>
        </a:gradFill>
      </dgm:spPr>
      <dgm:t>
        <a:bodyPr/>
        <a:lstStyle/>
        <a:p>
          <a:r>
            <a:rPr lang="hu-HU" dirty="0" smtClean="0"/>
            <a:t>Alkotóelem törlése: Del gomb</a:t>
          </a:r>
          <a:endParaRPr lang="hu-HU" dirty="0"/>
        </a:p>
      </dgm:t>
    </dgm:pt>
    <dgm:pt modelId="{62D297DF-C5A7-4E9E-AD16-AAE1D8B0C859}" type="parTrans" cxnId="{16BF4F29-D2A8-4E7B-810E-2FC023B6AEC3}">
      <dgm:prSet/>
      <dgm:spPr/>
      <dgm:t>
        <a:bodyPr/>
        <a:lstStyle/>
        <a:p>
          <a:endParaRPr lang="hu-HU"/>
        </a:p>
      </dgm:t>
    </dgm:pt>
    <dgm:pt modelId="{3E9F72F3-D647-42B6-A881-DDCC27F5054B}" type="sibTrans" cxnId="{16BF4F29-D2A8-4E7B-810E-2FC023B6AEC3}">
      <dgm:prSet/>
      <dgm:spPr/>
      <dgm:t>
        <a:bodyPr/>
        <a:lstStyle/>
        <a:p>
          <a:endParaRPr lang="hu-HU"/>
        </a:p>
      </dgm:t>
    </dgm:pt>
    <dgm:pt modelId="{D39B99CA-3181-4D26-BA4A-1B2AC287056C}">
      <dgm:prSet phldrT="[Szöveg]"/>
      <dgm:spPr>
        <a:gradFill flip="none" rotWithShape="1">
          <a:gsLst>
            <a:gs pos="0">
              <a:schemeClr val="accent6">
                <a:lumMod val="75000"/>
              </a:schemeClr>
            </a:gs>
            <a:gs pos="100000">
              <a:schemeClr val="accent6">
                <a:lumMod val="75000"/>
              </a:schemeClr>
            </a:gs>
            <a:gs pos="56000">
              <a:schemeClr val="accent6">
                <a:lumMod val="60000"/>
                <a:lumOff val="4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dgm:spPr>
      <dgm:t>
        <a:bodyPr/>
        <a:lstStyle/>
        <a:p>
          <a:r>
            <a:rPr lang="hu-HU" dirty="0" smtClean="0"/>
            <a:t>Az alakzatok egérrel mozgathatók</a:t>
          </a:r>
          <a:endParaRPr lang="hu-HU" dirty="0"/>
        </a:p>
      </dgm:t>
    </dgm:pt>
    <dgm:pt modelId="{5ECA49EE-4994-4D45-B284-FD31A88B4BBE}" type="parTrans" cxnId="{1B6C66FC-8887-4120-BB15-9086288B7C09}">
      <dgm:prSet/>
      <dgm:spPr/>
      <dgm:t>
        <a:bodyPr/>
        <a:lstStyle/>
        <a:p>
          <a:endParaRPr lang="hu-HU"/>
        </a:p>
      </dgm:t>
    </dgm:pt>
    <dgm:pt modelId="{1C739816-1588-4110-9EE8-9729E7A96DEA}" type="sibTrans" cxnId="{1B6C66FC-8887-4120-BB15-9086288B7C09}">
      <dgm:prSet/>
      <dgm:spPr/>
      <dgm:t>
        <a:bodyPr/>
        <a:lstStyle/>
        <a:p>
          <a:endParaRPr lang="hu-HU"/>
        </a:p>
      </dgm:t>
    </dgm:pt>
    <dgm:pt modelId="{77FDA7E4-552A-4A55-A97A-EAB7C6B7A397}" type="pres">
      <dgm:prSet presAssocID="{7D044A94-917C-4936-A5E0-D6657FC3CFD8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hu-HU"/>
        </a:p>
      </dgm:t>
    </dgm:pt>
    <dgm:pt modelId="{A005B507-3DDF-4A73-9FED-7B011167451A}" type="pres">
      <dgm:prSet presAssocID="{52F86C1E-565A-4F1C-94FA-B6BD84D95D1E}" presName="text1" presStyleCnt="0"/>
      <dgm:spPr/>
    </dgm:pt>
    <dgm:pt modelId="{4287FD8F-D436-4DCC-B2C8-39009AAD8676}" type="pres">
      <dgm:prSet presAssocID="{52F86C1E-565A-4F1C-94FA-B6BD84D95D1E}" presName="textRepeatNode" presStyleLbl="alignNode1" presStyleIdx="0" presStyleCnt="7" custLinFactX="69552" custLinFactNeighborX="100000" custLinFactNeighborY="-87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311850D-6C7B-4B93-89A3-F1D102D17F78}" type="pres">
      <dgm:prSet presAssocID="{52F86C1E-565A-4F1C-94FA-B6BD84D95D1E}" presName="textaccent1" presStyleCnt="0"/>
      <dgm:spPr/>
    </dgm:pt>
    <dgm:pt modelId="{A15DF5AC-DA96-4145-A8B1-2BF3B921AB89}" type="pres">
      <dgm:prSet presAssocID="{52F86C1E-565A-4F1C-94FA-B6BD84D95D1E}" presName="accentRepeatNode" presStyleLbl="solidAlignAcc1" presStyleIdx="0" presStyleCnt="14"/>
      <dgm:spPr/>
    </dgm:pt>
    <dgm:pt modelId="{E232CBEB-1969-4A00-9CB0-1E4A2B3945E6}" type="pres">
      <dgm:prSet presAssocID="{7EFFB975-3583-41E3-BB3D-D74F1C4A9AE3}" presName="image1" presStyleCnt="0"/>
      <dgm:spPr/>
    </dgm:pt>
    <dgm:pt modelId="{E1281569-8175-43D2-BEAD-3865116EDA46}" type="pres">
      <dgm:prSet presAssocID="{7EFFB975-3583-41E3-BB3D-D74F1C4A9AE3}" presName="imageRepeatNode" presStyleLbl="alignAcc1" presStyleIdx="0" presStyleCnt="7"/>
      <dgm:spPr/>
      <dgm:t>
        <a:bodyPr/>
        <a:lstStyle/>
        <a:p>
          <a:endParaRPr lang="hu-HU"/>
        </a:p>
      </dgm:t>
    </dgm:pt>
    <dgm:pt modelId="{5BFFDC31-D953-45E9-BCEE-ADF8D864646A}" type="pres">
      <dgm:prSet presAssocID="{7EFFB975-3583-41E3-BB3D-D74F1C4A9AE3}" presName="imageaccent1" presStyleCnt="0"/>
      <dgm:spPr/>
    </dgm:pt>
    <dgm:pt modelId="{56F87FCC-2133-45D1-9021-3750526054A6}" type="pres">
      <dgm:prSet presAssocID="{7EFFB975-3583-41E3-BB3D-D74F1C4A9AE3}" presName="accentRepeatNode" presStyleLbl="solidAlignAcc1" presStyleIdx="1" presStyleCnt="14"/>
      <dgm:spPr/>
    </dgm:pt>
    <dgm:pt modelId="{5CFF8DD9-3D61-43C2-9307-F84EA4566852}" type="pres">
      <dgm:prSet presAssocID="{D39B99CA-3181-4D26-BA4A-1B2AC287056C}" presName="text2" presStyleCnt="0"/>
      <dgm:spPr/>
    </dgm:pt>
    <dgm:pt modelId="{33B1E66D-F14F-46D2-A064-2462637DF494}" type="pres">
      <dgm:prSet presAssocID="{D39B99CA-3181-4D26-BA4A-1B2AC287056C}" presName="textRepeatNode" presStyleLbl="alignNode1" presStyleIdx="1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788B830E-E1DE-4FAC-B50C-CBA16124F4AC}" type="pres">
      <dgm:prSet presAssocID="{D39B99CA-3181-4D26-BA4A-1B2AC287056C}" presName="textaccent2" presStyleCnt="0"/>
      <dgm:spPr/>
    </dgm:pt>
    <dgm:pt modelId="{5B3C8852-F0F5-4DE6-88E5-28432CFB44C8}" type="pres">
      <dgm:prSet presAssocID="{D39B99CA-3181-4D26-BA4A-1B2AC287056C}" presName="accentRepeatNode" presStyleLbl="solidAlignAcc1" presStyleIdx="2" presStyleCnt="14"/>
      <dgm:spPr/>
    </dgm:pt>
    <dgm:pt modelId="{5BED9974-1E47-48A3-890E-885D584D60E1}" type="pres">
      <dgm:prSet presAssocID="{1C739816-1588-4110-9EE8-9729E7A96DEA}" presName="image2" presStyleCnt="0"/>
      <dgm:spPr/>
    </dgm:pt>
    <dgm:pt modelId="{6F6F9332-5D9E-48D9-A6E4-FC6BD699617E}" type="pres">
      <dgm:prSet presAssocID="{1C739816-1588-4110-9EE8-9729E7A96DEA}" presName="imageRepeatNode" presStyleLbl="alignAcc1" presStyleIdx="1" presStyleCnt="7" custLinFactX="-73142" custLinFactNeighborX="-100000" custLinFactNeighborY="0"/>
      <dgm:spPr/>
      <dgm:t>
        <a:bodyPr/>
        <a:lstStyle/>
        <a:p>
          <a:endParaRPr lang="hu-HU"/>
        </a:p>
      </dgm:t>
    </dgm:pt>
    <dgm:pt modelId="{F0936FDF-FC74-4461-9C06-EC0B28153DBE}" type="pres">
      <dgm:prSet presAssocID="{1C739816-1588-4110-9EE8-9729E7A96DEA}" presName="imageaccent2" presStyleCnt="0"/>
      <dgm:spPr/>
    </dgm:pt>
    <dgm:pt modelId="{0CFA8031-4BE7-4637-BEC2-9E9731D5D0AF}" type="pres">
      <dgm:prSet presAssocID="{1C739816-1588-4110-9EE8-9729E7A96DEA}" presName="accentRepeatNode" presStyleLbl="solidAlignAcc1" presStyleIdx="3" presStyleCnt="14"/>
      <dgm:spPr/>
    </dgm:pt>
    <dgm:pt modelId="{58659DF5-F6FC-4CF3-96AB-851052E26FD0}" type="pres">
      <dgm:prSet presAssocID="{B2A0F74E-1F2E-4FAC-B4E8-2FA4CAA767AA}" presName="text3" presStyleCnt="0"/>
      <dgm:spPr/>
    </dgm:pt>
    <dgm:pt modelId="{955003E8-4AEC-47BD-AEB0-4029453D82CF}" type="pres">
      <dgm:prSet presAssocID="{B2A0F74E-1F2E-4FAC-B4E8-2FA4CAA767AA}" presName="textRepeatNode" presStyleLbl="alignNode1" presStyleIdx="2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2B4E215-CE3F-4AA6-BA62-CC3E64ECD525}" type="pres">
      <dgm:prSet presAssocID="{B2A0F74E-1F2E-4FAC-B4E8-2FA4CAA767AA}" presName="textaccent3" presStyleCnt="0"/>
      <dgm:spPr/>
    </dgm:pt>
    <dgm:pt modelId="{A9797A53-D7F0-43B8-A913-FADA1BE7325F}" type="pres">
      <dgm:prSet presAssocID="{B2A0F74E-1F2E-4FAC-B4E8-2FA4CAA767AA}" presName="accentRepeatNode" presStyleLbl="solidAlignAcc1" presStyleIdx="4" presStyleCnt="14"/>
      <dgm:spPr/>
    </dgm:pt>
    <dgm:pt modelId="{BF6F7E09-C0A2-4A01-810E-C264B34E86E7}" type="pres">
      <dgm:prSet presAssocID="{F0F95110-B11E-435E-95EE-AA345C4A7056}" presName="image3" presStyleCnt="0"/>
      <dgm:spPr/>
    </dgm:pt>
    <dgm:pt modelId="{85601B43-997E-491A-AF98-5FB7ABFAE18F}" type="pres">
      <dgm:prSet presAssocID="{F0F95110-B11E-435E-95EE-AA345C4A7056}" presName="imageRepeatNode" presStyleLbl="alignAcc1" presStyleIdx="2" presStyleCnt="7" custLinFactX="-71793" custLinFactNeighborX="-100000"/>
      <dgm:spPr/>
      <dgm:t>
        <a:bodyPr/>
        <a:lstStyle/>
        <a:p>
          <a:endParaRPr lang="hu-HU"/>
        </a:p>
      </dgm:t>
    </dgm:pt>
    <dgm:pt modelId="{DC1492F2-7A83-46F7-93C1-BB1595D77181}" type="pres">
      <dgm:prSet presAssocID="{F0F95110-B11E-435E-95EE-AA345C4A7056}" presName="imageaccent3" presStyleCnt="0"/>
      <dgm:spPr/>
    </dgm:pt>
    <dgm:pt modelId="{5A659AE9-B9CE-4366-9B50-4731687BD278}" type="pres">
      <dgm:prSet presAssocID="{F0F95110-B11E-435E-95EE-AA345C4A7056}" presName="accentRepeatNode" presStyleLbl="solidAlignAcc1" presStyleIdx="5" presStyleCnt="14" custLinFactX="-452050" custLinFactY="138805" custLinFactNeighborX="-500000" custLinFactNeighborY="200000"/>
      <dgm:spPr/>
    </dgm:pt>
    <dgm:pt modelId="{9CAE9348-05CA-4EE6-9B09-300C192F1165}" type="pres">
      <dgm:prSet presAssocID="{B153F9A7-1C3A-4A9C-B7EC-3493A5002574}" presName="text4" presStyleCnt="0"/>
      <dgm:spPr/>
    </dgm:pt>
    <dgm:pt modelId="{6F51F760-EEF6-497A-964C-813978D6280A}" type="pres">
      <dgm:prSet presAssocID="{B153F9A7-1C3A-4A9C-B7EC-3493A5002574}" presName="textRepeatNode" presStyleLbl="alignNode1" presStyleIdx="3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C56A119A-6E88-4624-9135-37A3FFBD4CCF}" type="pres">
      <dgm:prSet presAssocID="{B153F9A7-1C3A-4A9C-B7EC-3493A5002574}" presName="textaccent4" presStyleCnt="0"/>
      <dgm:spPr/>
    </dgm:pt>
    <dgm:pt modelId="{DB843CA5-C489-4C1A-B916-E38A0453F249}" type="pres">
      <dgm:prSet presAssocID="{B153F9A7-1C3A-4A9C-B7EC-3493A5002574}" presName="accentRepeatNode" presStyleLbl="solidAlignAcc1" presStyleIdx="6" presStyleCnt="14"/>
      <dgm:spPr/>
    </dgm:pt>
    <dgm:pt modelId="{3277923D-44B3-4C17-8542-A76E136C2CF0}" type="pres">
      <dgm:prSet presAssocID="{3E9F72F3-D647-42B6-A881-DDCC27F5054B}" presName="image4" presStyleCnt="0"/>
      <dgm:spPr/>
    </dgm:pt>
    <dgm:pt modelId="{22F6041A-B2DB-4695-9338-54D38C8B66B4}" type="pres">
      <dgm:prSet presAssocID="{3E9F72F3-D647-42B6-A881-DDCC27F5054B}" presName="imageRepeatNode" presStyleLbl="alignAcc1" presStyleIdx="3" presStyleCnt="7" custLinFactNeighborX="84822" custLinFactNeighborY="51938"/>
      <dgm:spPr/>
      <dgm:t>
        <a:bodyPr/>
        <a:lstStyle/>
        <a:p>
          <a:endParaRPr lang="hu-HU"/>
        </a:p>
      </dgm:t>
    </dgm:pt>
    <dgm:pt modelId="{29887C93-A569-4FE5-A4E1-B24DD6C3BECD}" type="pres">
      <dgm:prSet presAssocID="{3E9F72F3-D647-42B6-A881-DDCC27F5054B}" presName="imageaccent4" presStyleCnt="0"/>
      <dgm:spPr/>
    </dgm:pt>
    <dgm:pt modelId="{1A446FF2-5623-4179-ABDD-9F71F5ABEFF6}" type="pres">
      <dgm:prSet presAssocID="{3E9F72F3-D647-42B6-A881-DDCC27F5054B}" presName="accentRepeatNode" presStyleLbl="solidAlignAcc1" presStyleIdx="7" presStyleCnt="14"/>
      <dgm:spPr/>
    </dgm:pt>
    <dgm:pt modelId="{2FE19010-4A27-4A49-918E-C1C66BF24818}" type="pres">
      <dgm:prSet presAssocID="{C9BEBCA9-5E3B-4CF9-BA11-3381AC8095B4}" presName="text5" presStyleCnt="0"/>
      <dgm:spPr/>
    </dgm:pt>
    <dgm:pt modelId="{60C2865C-E3A1-452F-B2E8-8EC8A8D27904}" type="pres">
      <dgm:prSet presAssocID="{C9BEBCA9-5E3B-4CF9-BA11-3381AC8095B4}" presName="textRepeatNode" presStyleLbl="alignNode1" presStyleIdx="4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7E5D410-F2A9-465C-AB4C-9437C9F5E014}" type="pres">
      <dgm:prSet presAssocID="{C9BEBCA9-5E3B-4CF9-BA11-3381AC8095B4}" presName="textaccent5" presStyleCnt="0"/>
      <dgm:spPr/>
    </dgm:pt>
    <dgm:pt modelId="{0F6997AD-FADB-4804-8B40-D8F6FF3CDA93}" type="pres">
      <dgm:prSet presAssocID="{C9BEBCA9-5E3B-4CF9-BA11-3381AC8095B4}" presName="accentRepeatNode" presStyleLbl="solidAlignAcc1" presStyleIdx="8" presStyleCnt="14"/>
      <dgm:spPr/>
    </dgm:pt>
    <dgm:pt modelId="{6D8968CB-572D-4C77-B26B-C82D31052BB3}" type="pres">
      <dgm:prSet presAssocID="{8114BD12-F507-40FA-8FB0-CCF810896ABD}" presName="image5" presStyleCnt="0"/>
      <dgm:spPr/>
    </dgm:pt>
    <dgm:pt modelId="{538A5A8E-6EAA-43E5-93BA-A88A96306D6F}" type="pres">
      <dgm:prSet presAssocID="{8114BD12-F507-40FA-8FB0-CCF810896ABD}" presName="imageRepeatNode" presStyleLbl="alignAcc1" presStyleIdx="4" presStyleCnt="7"/>
      <dgm:spPr/>
      <dgm:t>
        <a:bodyPr/>
        <a:lstStyle/>
        <a:p>
          <a:endParaRPr lang="hu-HU"/>
        </a:p>
      </dgm:t>
    </dgm:pt>
    <dgm:pt modelId="{5D686DAE-D53F-4100-ADF0-86019DA5677F}" type="pres">
      <dgm:prSet presAssocID="{8114BD12-F507-40FA-8FB0-CCF810896ABD}" presName="imageaccent5" presStyleCnt="0"/>
      <dgm:spPr/>
    </dgm:pt>
    <dgm:pt modelId="{7A3315E0-290F-470E-99BF-B99FAFD76181}" type="pres">
      <dgm:prSet presAssocID="{8114BD12-F507-40FA-8FB0-CCF810896ABD}" presName="accentRepeatNode" presStyleLbl="solidAlignAcc1" presStyleIdx="9" presStyleCnt="14"/>
      <dgm:spPr/>
    </dgm:pt>
    <dgm:pt modelId="{893F4A16-3D12-4F7E-91AE-C8085C111EFF}" type="pres">
      <dgm:prSet presAssocID="{8B03D9AD-74BB-43FE-B2A5-15611779D666}" presName="text6" presStyleCnt="0"/>
      <dgm:spPr/>
    </dgm:pt>
    <dgm:pt modelId="{24F7A0A0-B8E0-4348-8804-0FD4167CF8D0}" type="pres">
      <dgm:prSet presAssocID="{8B03D9AD-74BB-43FE-B2A5-15611779D666}" presName="textRepeatNode" presStyleLbl="alignNode1" presStyleIdx="5" presStyleCnt="7" custLinFactNeighborX="-86571" custLinFactNeighborY="-549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C63EB66-64A0-4D0D-A28B-FDF04CCD23F5}" type="pres">
      <dgm:prSet presAssocID="{8B03D9AD-74BB-43FE-B2A5-15611779D666}" presName="textaccent6" presStyleCnt="0"/>
      <dgm:spPr/>
    </dgm:pt>
    <dgm:pt modelId="{DA9B0E6C-665F-4508-92CA-18E87BF1C110}" type="pres">
      <dgm:prSet presAssocID="{8B03D9AD-74BB-43FE-B2A5-15611779D666}" presName="accentRepeatNode" presStyleLbl="solidAlignAcc1" presStyleIdx="10" presStyleCnt="14" custLinFactX="-129844" custLinFactY="-203863" custLinFactNeighborX="-200000" custLinFactNeighborY="-300000"/>
      <dgm:spPr/>
    </dgm:pt>
    <dgm:pt modelId="{52C528B9-D19E-4B40-AF8C-35A3B3C03351}" type="pres">
      <dgm:prSet presAssocID="{4BA55F0B-03CD-4F5C-AD6C-AC015FE67E1B}" presName="image6" presStyleCnt="0"/>
      <dgm:spPr/>
    </dgm:pt>
    <dgm:pt modelId="{46AB04DA-51F2-462F-920F-3F0CD54A9626}" type="pres">
      <dgm:prSet presAssocID="{4BA55F0B-03CD-4F5C-AD6C-AC015FE67E1B}" presName="imageRepeatNode" presStyleLbl="alignAcc1" presStyleIdx="5" presStyleCnt="7"/>
      <dgm:spPr/>
      <dgm:t>
        <a:bodyPr/>
        <a:lstStyle/>
        <a:p>
          <a:endParaRPr lang="hu-HU"/>
        </a:p>
      </dgm:t>
    </dgm:pt>
    <dgm:pt modelId="{4CC2E0F0-F161-472B-BDDB-01FB2A8A718B}" type="pres">
      <dgm:prSet presAssocID="{4BA55F0B-03CD-4F5C-AD6C-AC015FE67E1B}" presName="imageaccent6" presStyleCnt="0"/>
      <dgm:spPr/>
    </dgm:pt>
    <dgm:pt modelId="{D565C39A-5B0D-4558-8196-9B5BA1020F8A}" type="pres">
      <dgm:prSet presAssocID="{4BA55F0B-03CD-4F5C-AD6C-AC015FE67E1B}" presName="accentRepeatNode" presStyleLbl="solidAlignAcc1" presStyleIdx="11" presStyleCnt="14"/>
      <dgm:spPr/>
    </dgm:pt>
    <dgm:pt modelId="{A9BF25E9-1201-4BC5-953C-BFC974066F19}" type="pres">
      <dgm:prSet presAssocID="{95D14406-4B24-45F9-901F-82AA775626B0}" presName="text7" presStyleCnt="0"/>
      <dgm:spPr/>
    </dgm:pt>
    <dgm:pt modelId="{72AA27B5-3682-4BE0-AF1F-518F769C17BE}" type="pres">
      <dgm:prSet presAssocID="{95D14406-4B24-45F9-901F-82AA775626B0}" presName="textRepeatNode" presStyleLbl="alignNode1" presStyleIdx="6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765316E-4195-4237-B9E2-F1257A7A7282}" type="pres">
      <dgm:prSet presAssocID="{95D14406-4B24-45F9-901F-82AA775626B0}" presName="textaccent7" presStyleCnt="0"/>
      <dgm:spPr/>
    </dgm:pt>
    <dgm:pt modelId="{5F800A0E-1AE7-4EF1-A092-BDFBC72EEA39}" type="pres">
      <dgm:prSet presAssocID="{95D14406-4B24-45F9-901F-82AA775626B0}" presName="accentRepeatNode" presStyleLbl="solidAlignAcc1" presStyleIdx="12" presStyleCnt="14"/>
      <dgm:spPr/>
    </dgm:pt>
    <dgm:pt modelId="{0C50E130-406E-4B85-811F-3F77FDDF043F}" type="pres">
      <dgm:prSet presAssocID="{6D315645-8E56-42B7-86E2-E0E2A75FFA92}" presName="image7" presStyleCnt="0"/>
      <dgm:spPr/>
    </dgm:pt>
    <dgm:pt modelId="{0EAC2462-3D12-4326-9FEC-CAD69CDB0CA0}" type="pres">
      <dgm:prSet presAssocID="{6D315645-8E56-42B7-86E2-E0E2A75FFA92}" presName="imageRepeatNode" presStyleLbl="alignAcc1" presStyleIdx="6" presStyleCnt="7"/>
      <dgm:spPr/>
      <dgm:t>
        <a:bodyPr/>
        <a:lstStyle/>
        <a:p>
          <a:endParaRPr lang="hu-HU"/>
        </a:p>
      </dgm:t>
    </dgm:pt>
    <dgm:pt modelId="{51E6EEC6-A5D5-495D-BFDF-B3C988C60FA6}" type="pres">
      <dgm:prSet presAssocID="{6D315645-8E56-42B7-86E2-E0E2A75FFA92}" presName="imageaccent7" presStyleCnt="0"/>
      <dgm:spPr/>
    </dgm:pt>
    <dgm:pt modelId="{AA3598E5-9193-47EA-8CE5-840D10917A33}" type="pres">
      <dgm:prSet presAssocID="{6D315645-8E56-42B7-86E2-E0E2A75FFA92}" presName="accentRepeatNode" presStyleLbl="solidAlignAcc1" presStyleIdx="13" presStyleCnt="14"/>
      <dgm:spPr/>
    </dgm:pt>
  </dgm:ptLst>
  <dgm:cxnLst>
    <dgm:cxn modelId="{91C5183A-135B-4212-8533-59F3855E6CD7}" srcId="{7D044A94-917C-4936-A5E0-D6657FC3CFD8}" destId="{B2A0F74E-1F2E-4FAC-B4E8-2FA4CAA767AA}" srcOrd="2" destOrd="0" parTransId="{AB5CF262-5720-471E-910D-685B65F32627}" sibTransId="{F0F95110-B11E-435E-95EE-AA345C4A7056}"/>
    <dgm:cxn modelId="{FD3F9827-B11D-40C5-B885-115A2B381C9C}" type="presOf" srcId="{7D044A94-917C-4936-A5E0-D6657FC3CFD8}" destId="{77FDA7E4-552A-4A55-A97A-EAB7C6B7A397}" srcOrd="0" destOrd="0" presId="urn:microsoft.com/office/officeart/2008/layout/HexagonCluster"/>
    <dgm:cxn modelId="{F82C9E9E-DED3-4CF3-A20A-D9A6AB958DB8}" srcId="{7D044A94-917C-4936-A5E0-D6657FC3CFD8}" destId="{C9BEBCA9-5E3B-4CF9-BA11-3381AC8095B4}" srcOrd="4" destOrd="0" parTransId="{1ADBDD90-D6C6-447D-AA7D-1CAED79661B8}" sibTransId="{8114BD12-F507-40FA-8FB0-CCF810896ABD}"/>
    <dgm:cxn modelId="{5CE29AD2-CEAF-4A51-8BE0-DF646501821D}" type="presOf" srcId="{1C739816-1588-4110-9EE8-9729E7A96DEA}" destId="{6F6F9332-5D9E-48D9-A6E4-FC6BD699617E}" srcOrd="0" destOrd="0" presId="urn:microsoft.com/office/officeart/2008/layout/HexagonCluster"/>
    <dgm:cxn modelId="{48746E1E-8DB6-403A-84D2-BEC76F1CC6A7}" type="presOf" srcId="{7EFFB975-3583-41E3-BB3D-D74F1C4A9AE3}" destId="{E1281569-8175-43D2-BEAD-3865116EDA46}" srcOrd="0" destOrd="0" presId="urn:microsoft.com/office/officeart/2008/layout/HexagonCluster"/>
    <dgm:cxn modelId="{43B62B58-5D20-4652-93CC-A48343E5CFE5}" type="presOf" srcId="{52F86C1E-565A-4F1C-94FA-B6BD84D95D1E}" destId="{4287FD8F-D436-4DCC-B2C8-39009AAD8676}" srcOrd="0" destOrd="0" presId="urn:microsoft.com/office/officeart/2008/layout/HexagonCluster"/>
    <dgm:cxn modelId="{8963E86C-AA88-4E37-9A3F-90C4AB0D6B48}" srcId="{7D044A94-917C-4936-A5E0-D6657FC3CFD8}" destId="{95D14406-4B24-45F9-901F-82AA775626B0}" srcOrd="6" destOrd="0" parTransId="{07196DE1-3064-4517-9306-20251247BDA5}" sibTransId="{6D315645-8E56-42B7-86E2-E0E2A75FFA92}"/>
    <dgm:cxn modelId="{992EF2A1-F62B-4E3D-861C-C9B65BABA13A}" type="presOf" srcId="{95D14406-4B24-45F9-901F-82AA775626B0}" destId="{72AA27B5-3682-4BE0-AF1F-518F769C17BE}" srcOrd="0" destOrd="0" presId="urn:microsoft.com/office/officeart/2008/layout/HexagonCluster"/>
    <dgm:cxn modelId="{EC00403F-A864-4DEE-B506-B8EB3827AB72}" srcId="{7D044A94-917C-4936-A5E0-D6657FC3CFD8}" destId="{8B03D9AD-74BB-43FE-B2A5-15611779D666}" srcOrd="5" destOrd="0" parTransId="{A83F3419-1FE9-43EB-8902-F366CB25B118}" sibTransId="{4BA55F0B-03CD-4F5C-AD6C-AC015FE67E1B}"/>
    <dgm:cxn modelId="{16BF4F29-D2A8-4E7B-810E-2FC023B6AEC3}" srcId="{7D044A94-917C-4936-A5E0-D6657FC3CFD8}" destId="{B153F9A7-1C3A-4A9C-B7EC-3493A5002574}" srcOrd="3" destOrd="0" parTransId="{62D297DF-C5A7-4E9E-AD16-AAE1D8B0C859}" sibTransId="{3E9F72F3-D647-42B6-A881-DDCC27F5054B}"/>
    <dgm:cxn modelId="{1B6C66FC-8887-4120-BB15-9086288B7C09}" srcId="{7D044A94-917C-4936-A5E0-D6657FC3CFD8}" destId="{D39B99CA-3181-4D26-BA4A-1B2AC287056C}" srcOrd="1" destOrd="0" parTransId="{5ECA49EE-4994-4D45-B284-FD31A88B4BBE}" sibTransId="{1C739816-1588-4110-9EE8-9729E7A96DEA}"/>
    <dgm:cxn modelId="{717CCAB3-C16D-470C-B3C3-FBCD26170797}" type="presOf" srcId="{C9BEBCA9-5E3B-4CF9-BA11-3381AC8095B4}" destId="{60C2865C-E3A1-452F-B2E8-8EC8A8D27904}" srcOrd="0" destOrd="0" presId="urn:microsoft.com/office/officeart/2008/layout/HexagonCluster"/>
    <dgm:cxn modelId="{6B43D14F-52CD-4BE8-BD7F-5E71021C86A2}" type="presOf" srcId="{8114BD12-F507-40FA-8FB0-CCF810896ABD}" destId="{538A5A8E-6EAA-43E5-93BA-A88A96306D6F}" srcOrd="0" destOrd="0" presId="urn:microsoft.com/office/officeart/2008/layout/HexagonCluster"/>
    <dgm:cxn modelId="{A5D597F5-D475-4037-82A6-1E8A2C5CA7EC}" type="presOf" srcId="{F0F95110-B11E-435E-95EE-AA345C4A7056}" destId="{85601B43-997E-491A-AF98-5FB7ABFAE18F}" srcOrd="0" destOrd="0" presId="urn:microsoft.com/office/officeart/2008/layout/HexagonCluster"/>
    <dgm:cxn modelId="{ABEE37F2-E4D7-4346-A8B1-63C7F91C7BA1}" srcId="{7D044A94-917C-4936-A5E0-D6657FC3CFD8}" destId="{52F86C1E-565A-4F1C-94FA-B6BD84D95D1E}" srcOrd="0" destOrd="0" parTransId="{9326E207-F178-4ADE-8AED-59E712D23D3C}" sibTransId="{7EFFB975-3583-41E3-BB3D-D74F1C4A9AE3}"/>
    <dgm:cxn modelId="{E41E28BD-94FC-4AB4-BE44-C02C6307B723}" type="presOf" srcId="{3E9F72F3-D647-42B6-A881-DDCC27F5054B}" destId="{22F6041A-B2DB-4695-9338-54D38C8B66B4}" srcOrd="0" destOrd="0" presId="urn:microsoft.com/office/officeart/2008/layout/HexagonCluster"/>
    <dgm:cxn modelId="{603CE266-5271-47F6-AA48-198BE974CC56}" type="presOf" srcId="{B2A0F74E-1F2E-4FAC-B4E8-2FA4CAA767AA}" destId="{955003E8-4AEC-47BD-AEB0-4029453D82CF}" srcOrd="0" destOrd="0" presId="urn:microsoft.com/office/officeart/2008/layout/HexagonCluster"/>
    <dgm:cxn modelId="{760279C8-BC96-4834-81EA-A2F514FD6976}" type="presOf" srcId="{B153F9A7-1C3A-4A9C-B7EC-3493A5002574}" destId="{6F51F760-EEF6-497A-964C-813978D6280A}" srcOrd="0" destOrd="0" presId="urn:microsoft.com/office/officeart/2008/layout/HexagonCluster"/>
    <dgm:cxn modelId="{CE6658A8-A324-465B-8BB7-8E4D5C46DFFA}" type="presOf" srcId="{6D315645-8E56-42B7-86E2-E0E2A75FFA92}" destId="{0EAC2462-3D12-4326-9FEC-CAD69CDB0CA0}" srcOrd="0" destOrd="0" presId="urn:microsoft.com/office/officeart/2008/layout/HexagonCluster"/>
    <dgm:cxn modelId="{EA0983D9-2FFC-4493-9A84-7111B8C6A224}" type="presOf" srcId="{8B03D9AD-74BB-43FE-B2A5-15611779D666}" destId="{24F7A0A0-B8E0-4348-8804-0FD4167CF8D0}" srcOrd="0" destOrd="0" presId="urn:microsoft.com/office/officeart/2008/layout/HexagonCluster"/>
    <dgm:cxn modelId="{B04B5CB5-2691-4A7F-9D2C-93AAB575C712}" type="presOf" srcId="{4BA55F0B-03CD-4F5C-AD6C-AC015FE67E1B}" destId="{46AB04DA-51F2-462F-920F-3F0CD54A9626}" srcOrd="0" destOrd="0" presId="urn:microsoft.com/office/officeart/2008/layout/HexagonCluster"/>
    <dgm:cxn modelId="{B2D63CFC-EC81-41B1-BF80-8ACABB05CF9A}" type="presOf" srcId="{D39B99CA-3181-4D26-BA4A-1B2AC287056C}" destId="{33B1E66D-F14F-46D2-A064-2462637DF494}" srcOrd="0" destOrd="0" presId="urn:microsoft.com/office/officeart/2008/layout/HexagonCluster"/>
    <dgm:cxn modelId="{7D69140D-8916-4B61-80D4-CC64D590ECE3}" type="presParOf" srcId="{77FDA7E4-552A-4A55-A97A-EAB7C6B7A397}" destId="{A005B507-3DDF-4A73-9FED-7B011167451A}" srcOrd="0" destOrd="0" presId="urn:microsoft.com/office/officeart/2008/layout/HexagonCluster"/>
    <dgm:cxn modelId="{9A8E8AA1-2FAC-4E34-A5B1-581CB026EDA4}" type="presParOf" srcId="{A005B507-3DDF-4A73-9FED-7B011167451A}" destId="{4287FD8F-D436-4DCC-B2C8-39009AAD8676}" srcOrd="0" destOrd="0" presId="urn:microsoft.com/office/officeart/2008/layout/HexagonCluster"/>
    <dgm:cxn modelId="{6C36732C-2401-465E-81C9-4ED1ACEA1DE0}" type="presParOf" srcId="{77FDA7E4-552A-4A55-A97A-EAB7C6B7A397}" destId="{B311850D-6C7B-4B93-89A3-F1D102D17F78}" srcOrd="1" destOrd="0" presId="urn:microsoft.com/office/officeart/2008/layout/HexagonCluster"/>
    <dgm:cxn modelId="{AD21E3E2-9C2B-4E6F-96F1-9E7DA3E1D3A4}" type="presParOf" srcId="{B311850D-6C7B-4B93-89A3-F1D102D17F78}" destId="{A15DF5AC-DA96-4145-A8B1-2BF3B921AB89}" srcOrd="0" destOrd="0" presId="urn:microsoft.com/office/officeart/2008/layout/HexagonCluster"/>
    <dgm:cxn modelId="{8AEC5612-19FE-421A-927C-BD09654BF9E0}" type="presParOf" srcId="{77FDA7E4-552A-4A55-A97A-EAB7C6B7A397}" destId="{E232CBEB-1969-4A00-9CB0-1E4A2B3945E6}" srcOrd="2" destOrd="0" presId="urn:microsoft.com/office/officeart/2008/layout/HexagonCluster"/>
    <dgm:cxn modelId="{2CCE5EAF-3544-4CD7-BA08-B1B8E80C210C}" type="presParOf" srcId="{E232CBEB-1969-4A00-9CB0-1E4A2B3945E6}" destId="{E1281569-8175-43D2-BEAD-3865116EDA46}" srcOrd="0" destOrd="0" presId="urn:microsoft.com/office/officeart/2008/layout/HexagonCluster"/>
    <dgm:cxn modelId="{DB49111F-C630-4D6D-BCC4-82171C5AD35E}" type="presParOf" srcId="{77FDA7E4-552A-4A55-A97A-EAB7C6B7A397}" destId="{5BFFDC31-D953-45E9-BCEE-ADF8D864646A}" srcOrd="3" destOrd="0" presId="urn:microsoft.com/office/officeart/2008/layout/HexagonCluster"/>
    <dgm:cxn modelId="{82A5E5B9-0C4D-4144-B9F2-C95119B44786}" type="presParOf" srcId="{5BFFDC31-D953-45E9-BCEE-ADF8D864646A}" destId="{56F87FCC-2133-45D1-9021-3750526054A6}" srcOrd="0" destOrd="0" presId="urn:microsoft.com/office/officeart/2008/layout/HexagonCluster"/>
    <dgm:cxn modelId="{8C4A0248-E641-4A78-A2ED-E234387CB669}" type="presParOf" srcId="{77FDA7E4-552A-4A55-A97A-EAB7C6B7A397}" destId="{5CFF8DD9-3D61-43C2-9307-F84EA4566852}" srcOrd="4" destOrd="0" presId="urn:microsoft.com/office/officeart/2008/layout/HexagonCluster"/>
    <dgm:cxn modelId="{6CE52425-F2D0-45E2-AB89-F5C236646361}" type="presParOf" srcId="{5CFF8DD9-3D61-43C2-9307-F84EA4566852}" destId="{33B1E66D-F14F-46D2-A064-2462637DF494}" srcOrd="0" destOrd="0" presId="urn:microsoft.com/office/officeart/2008/layout/HexagonCluster"/>
    <dgm:cxn modelId="{E163FAA7-1F34-4187-9898-A5C316BBEDCF}" type="presParOf" srcId="{77FDA7E4-552A-4A55-A97A-EAB7C6B7A397}" destId="{788B830E-E1DE-4FAC-B50C-CBA16124F4AC}" srcOrd="5" destOrd="0" presId="urn:microsoft.com/office/officeart/2008/layout/HexagonCluster"/>
    <dgm:cxn modelId="{25CF2A69-36D8-4D2B-86EF-72700B81BB54}" type="presParOf" srcId="{788B830E-E1DE-4FAC-B50C-CBA16124F4AC}" destId="{5B3C8852-F0F5-4DE6-88E5-28432CFB44C8}" srcOrd="0" destOrd="0" presId="urn:microsoft.com/office/officeart/2008/layout/HexagonCluster"/>
    <dgm:cxn modelId="{000DC977-386F-41D3-A8D1-90413970741E}" type="presParOf" srcId="{77FDA7E4-552A-4A55-A97A-EAB7C6B7A397}" destId="{5BED9974-1E47-48A3-890E-885D584D60E1}" srcOrd="6" destOrd="0" presId="urn:microsoft.com/office/officeart/2008/layout/HexagonCluster"/>
    <dgm:cxn modelId="{F7EB8631-4F81-4515-9873-5A2DCB85C39B}" type="presParOf" srcId="{5BED9974-1E47-48A3-890E-885D584D60E1}" destId="{6F6F9332-5D9E-48D9-A6E4-FC6BD699617E}" srcOrd="0" destOrd="0" presId="urn:microsoft.com/office/officeart/2008/layout/HexagonCluster"/>
    <dgm:cxn modelId="{62FB0A1D-1F90-493C-A2FC-4A265DF7B1DD}" type="presParOf" srcId="{77FDA7E4-552A-4A55-A97A-EAB7C6B7A397}" destId="{F0936FDF-FC74-4461-9C06-EC0B28153DBE}" srcOrd="7" destOrd="0" presId="urn:microsoft.com/office/officeart/2008/layout/HexagonCluster"/>
    <dgm:cxn modelId="{3417C70E-3780-43A1-AF2E-E496FBA80D16}" type="presParOf" srcId="{F0936FDF-FC74-4461-9C06-EC0B28153DBE}" destId="{0CFA8031-4BE7-4637-BEC2-9E9731D5D0AF}" srcOrd="0" destOrd="0" presId="urn:microsoft.com/office/officeart/2008/layout/HexagonCluster"/>
    <dgm:cxn modelId="{10BFB08C-D8FA-4826-9C3E-71CCE9185BD8}" type="presParOf" srcId="{77FDA7E4-552A-4A55-A97A-EAB7C6B7A397}" destId="{58659DF5-F6FC-4CF3-96AB-851052E26FD0}" srcOrd="8" destOrd="0" presId="urn:microsoft.com/office/officeart/2008/layout/HexagonCluster"/>
    <dgm:cxn modelId="{2CE5A285-CA48-41F9-A980-376EC6705C31}" type="presParOf" srcId="{58659DF5-F6FC-4CF3-96AB-851052E26FD0}" destId="{955003E8-4AEC-47BD-AEB0-4029453D82CF}" srcOrd="0" destOrd="0" presId="urn:microsoft.com/office/officeart/2008/layout/HexagonCluster"/>
    <dgm:cxn modelId="{1522D256-EEA2-40A6-BBD6-1F4C6C4D6867}" type="presParOf" srcId="{77FDA7E4-552A-4A55-A97A-EAB7C6B7A397}" destId="{22B4E215-CE3F-4AA6-BA62-CC3E64ECD525}" srcOrd="9" destOrd="0" presId="urn:microsoft.com/office/officeart/2008/layout/HexagonCluster"/>
    <dgm:cxn modelId="{13764459-2698-45A6-9952-F06E3E795903}" type="presParOf" srcId="{22B4E215-CE3F-4AA6-BA62-CC3E64ECD525}" destId="{A9797A53-D7F0-43B8-A913-FADA1BE7325F}" srcOrd="0" destOrd="0" presId="urn:microsoft.com/office/officeart/2008/layout/HexagonCluster"/>
    <dgm:cxn modelId="{0965806D-464D-41C7-A984-E28F2BFF0230}" type="presParOf" srcId="{77FDA7E4-552A-4A55-A97A-EAB7C6B7A397}" destId="{BF6F7E09-C0A2-4A01-810E-C264B34E86E7}" srcOrd="10" destOrd="0" presId="urn:microsoft.com/office/officeart/2008/layout/HexagonCluster"/>
    <dgm:cxn modelId="{1E05D3F4-2491-48FF-A52A-E65DB853A333}" type="presParOf" srcId="{BF6F7E09-C0A2-4A01-810E-C264B34E86E7}" destId="{85601B43-997E-491A-AF98-5FB7ABFAE18F}" srcOrd="0" destOrd="0" presId="urn:microsoft.com/office/officeart/2008/layout/HexagonCluster"/>
    <dgm:cxn modelId="{B3AA917B-D2F7-47F5-B202-088C5DFB39A6}" type="presParOf" srcId="{77FDA7E4-552A-4A55-A97A-EAB7C6B7A397}" destId="{DC1492F2-7A83-46F7-93C1-BB1595D77181}" srcOrd="11" destOrd="0" presId="urn:microsoft.com/office/officeart/2008/layout/HexagonCluster"/>
    <dgm:cxn modelId="{9E2E0B15-4650-451E-A5C7-1833352216C6}" type="presParOf" srcId="{DC1492F2-7A83-46F7-93C1-BB1595D77181}" destId="{5A659AE9-B9CE-4366-9B50-4731687BD278}" srcOrd="0" destOrd="0" presId="urn:microsoft.com/office/officeart/2008/layout/HexagonCluster"/>
    <dgm:cxn modelId="{972859AD-9D11-4617-9AF0-D1B5F83D2E50}" type="presParOf" srcId="{77FDA7E4-552A-4A55-A97A-EAB7C6B7A397}" destId="{9CAE9348-05CA-4EE6-9B09-300C192F1165}" srcOrd="12" destOrd="0" presId="urn:microsoft.com/office/officeart/2008/layout/HexagonCluster"/>
    <dgm:cxn modelId="{4FD9628C-B41D-46C5-967B-156DF1AD699B}" type="presParOf" srcId="{9CAE9348-05CA-4EE6-9B09-300C192F1165}" destId="{6F51F760-EEF6-497A-964C-813978D6280A}" srcOrd="0" destOrd="0" presId="urn:microsoft.com/office/officeart/2008/layout/HexagonCluster"/>
    <dgm:cxn modelId="{B293AF6E-CFA2-4D1B-B12A-C0ACD6BFC9C0}" type="presParOf" srcId="{77FDA7E4-552A-4A55-A97A-EAB7C6B7A397}" destId="{C56A119A-6E88-4624-9135-37A3FFBD4CCF}" srcOrd="13" destOrd="0" presId="urn:microsoft.com/office/officeart/2008/layout/HexagonCluster"/>
    <dgm:cxn modelId="{525D5E49-C533-4A02-8736-4ADF0D061B4C}" type="presParOf" srcId="{C56A119A-6E88-4624-9135-37A3FFBD4CCF}" destId="{DB843CA5-C489-4C1A-B916-E38A0453F249}" srcOrd="0" destOrd="0" presId="urn:microsoft.com/office/officeart/2008/layout/HexagonCluster"/>
    <dgm:cxn modelId="{BDDE225B-E215-48EC-9F26-C8CD5174131D}" type="presParOf" srcId="{77FDA7E4-552A-4A55-A97A-EAB7C6B7A397}" destId="{3277923D-44B3-4C17-8542-A76E136C2CF0}" srcOrd="14" destOrd="0" presId="urn:microsoft.com/office/officeart/2008/layout/HexagonCluster"/>
    <dgm:cxn modelId="{D7720F7C-4316-47C3-B3C4-BE2DBA74008A}" type="presParOf" srcId="{3277923D-44B3-4C17-8542-A76E136C2CF0}" destId="{22F6041A-B2DB-4695-9338-54D38C8B66B4}" srcOrd="0" destOrd="0" presId="urn:microsoft.com/office/officeart/2008/layout/HexagonCluster"/>
    <dgm:cxn modelId="{2039FD31-BD96-4048-81F0-E0E30D604C60}" type="presParOf" srcId="{77FDA7E4-552A-4A55-A97A-EAB7C6B7A397}" destId="{29887C93-A569-4FE5-A4E1-B24DD6C3BECD}" srcOrd="15" destOrd="0" presId="urn:microsoft.com/office/officeart/2008/layout/HexagonCluster"/>
    <dgm:cxn modelId="{205E6B7F-954A-4890-9EDC-F9850245D276}" type="presParOf" srcId="{29887C93-A569-4FE5-A4E1-B24DD6C3BECD}" destId="{1A446FF2-5623-4179-ABDD-9F71F5ABEFF6}" srcOrd="0" destOrd="0" presId="urn:microsoft.com/office/officeart/2008/layout/HexagonCluster"/>
    <dgm:cxn modelId="{828D1C44-7E32-4388-9381-64063DC3DB40}" type="presParOf" srcId="{77FDA7E4-552A-4A55-A97A-EAB7C6B7A397}" destId="{2FE19010-4A27-4A49-918E-C1C66BF24818}" srcOrd="16" destOrd="0" presId="urn:microsoft.com/office/officeart/2008/layout/HexagonCluster"/>
    <dgm:cxn modelId="{8410360D-EAD6-4B7C-B051-DB5110A7F4FB}" type="presParOf" srcId="{2FE19010-4A27-4A49-918E-C1C66BF24818}" destId="{60C2865C-E3A1-452F-B2E8-8EC8A8D27904}" srcOrd="0" destOrd="0" presId="urn:microsoft.com/office/officeart/2008/layout/HexagonCluster"/>
    <dgm:cxn modelId="{CAC47CB3-1E34-4D4C-8358-FF99E036C509}" type="presParOf" srcId="{77FDA7E4-552A-4A55-A97A-EAB7C6B7A397}" destId="{97E5D410-F2A9-465C-AB4C-9437C9F5E014}" srcOrd="17" destOrd="0" presId="urn:microsoft.com/office/officeart/2008/layout/HexagonCluster"/>
    <dgm:cxn modelId="{31224595-FC6F-4D9F-9ECB-1D9E9BA7078D}" type="presParOf" srcId="{97E5D410-F2A9-465C-AB4C-9437C9F5E014}" destId="{0F6997AD-FADB-4804-8B40-D8F6FF3CDA93}" srcOrd="0" destOrd="0" presId="urn:microsoft.com/office/officeart/2008/layout/HexagonCluster"/>
    <dgm:cxn modelId="{C60AC224-C18C-4E59-8388-F5D347CBC733}" type="presParOf" srcId="{77FDA7E4-552A-4A55-A97A-EAB7C6B7A397}" destId="{6D8968CB-572D-4C77-B26B-C82D31052BB3}" srcOrd="18" destOrd="0" presId="urn:microsoft.com/office/officeart/2008/layout/HexagonCluster"/>
    <dgm:cxn modelId="{685F8925-60E0-417D-A4AF-F88568C3B2DA}" type="presParOf" srcId="{6D8968CB-572D-4C77-B26B-C82D31052BB3}" destId="{538A5A8E-6EAA-43E5-93BA-A88A96306D6F}" srcOrd="0" destOrd="0" presId="urn:microsoft.com/office/officeart/2008/layout/HexagonCluster"/>
    <dgm:cxn modelId="{2DB9D3E0-369E-4DE7-BC7D-38CE9ACF6060}" type="presParOf" srcId="{77FDA7E4-552A-4A55-A97A-EAB7C6B7A397}" destId="{5D686DAE-D53F-4100-ADF0-86019DA5677F}" srcOrd="19" destOrd="0" presId="urn:microsoft.com/office/officeart/2008/layout/HexagonCluster"/>
    <dgm:cxn modelId="{32123C20-F575-4491-9CF1-C448F982C1BF}" type="presParOf" srcId="{5D686DAE-D53F-4100-ADF0-86019DA5677F}" destId="{7A3315E0-290F-470E-99BF-B99FAFD76181}" srcOrd="0" destOrd="0" presId="urn:microsoft.com/office/officeart/2008/layout/HexagonCluster"/>
    <dgm:cxn modelId="{09F8000D-D180-4CAF-8893-CA7B4691B909}" type="presParOf" srcId="{77FDA7E4-552A-4A55-A97A-EAB7C6B7A397}" destId="{893F4A16-3D12-4F7E-91AE-C8085C111EFF}" srcOrd="20" destOrd="0" presId="urn:microsoft.com/office/officeart/2008/layout/HexagonCluster"/>
    <dgm:cxn modelId="{2844EC5A-36BF-4D72-BFAC-EA0D9390F920}" type="presParOf" srcId="{893F4A16-3D12-4F7E-91AE-C8085C111EFF}" destId="{24F7A0A0-B8E0-4348-8804-0FD4167CF8D0}" srcOrd="0" destOrd="0" presId="urn:microsoft.com/office/officeart/2008/layout/HexagonCluster"/>
    <dgm:cxn modelId="{839E5656-03E1-4E41-A030-000D3F66BDDF}" type="presParOf" srcId="{77FDA7E4-552A-4A55-A97A-EAB7C6B7A397}" destId="{AC63EB66-64A0-4D0D-A28B-FDF04CCD23F5}" srcOrd="21" destOrd="0" presId="urn:microsoft.com/office/officeart/2008/layout/HexagonCluster"/>
    <dgm:cxn modelId="{2291A02A-FADB-4B4F-BBF5-1C84E068F2B4}" type="presParOf" srcId="{AC63EB66-64A0-4D0D-A28B-FDF04CCD23F5}" destId="{DA9B0E6C-665F-4508-92CA-18E87BF1C110}" srcOrd="0" destOrd="0" presId="urn:microsoft.com/office/officeart/2008/layout/HexagonCluster"/>
    <dgm:cxn modelId="{8B4BD7BB-F62B-4CFD-B470-F93588F1841E}" type="presParOf" srcId="{77FDA7E4-552A-4A55-A97A-EAB7C6B7A397}" destId="{52C528B9-D19E-4B40-AF8C-35A3B3C03351}" srcOrd="22" destOrd="0" presId="urn:microsoft.com/office/officeart/2008/layout/HexagonCluster"/>
    <dgm:cxn modelId="{98E93C1A-5E6D-4929-BC78-2D24CCF4A989}" type="presParOf" srcId="{52C528B9-D19E-4B40-AF8C-35A3B3C03351}" destId="{46AB04DA-51F2-462F-920F-3F0CD54A9626}" srcOrd="0" destOrd="0" presId="urn:microsoft.com/office/officeart/2008/layout/HexagonCluster"/>
    <dgm:cxn modelId="{E1047D0B-A63A-48E6-B0E6-03D10A6386B8}" type="presParOf" srcId="{77FDA7E4-552A-4A55-A97A-EAB7C6B7A397}" destId="{4CC2E0F0-F161-472B-BDDB-01FB2A8A718B}" srcOrd="23" destOrd="0" presId="urn:microsoft.com/office/officeart/2008/layout/HexagonCluster"/>
    <dgm:cxn modelId="{78ACF095-FA67-49A4-B28F-8279731C7E97}" type="presParOf" srcId="{4CC2E0F0-F161-472B-BDDB-01FB2A8A718B}" destId="{D565C39A-5B0D-4558-8196-9B5BA1020F8A}" srcOrd="0" destOrd="0" presId="urn:microsoft.com/office/officeart/2008/layout/HexagonCluster"/>
    <dgm:cxn modelId="{7E024E43-214E-4990-991E-E7F084820508}" type="presParOf" srcId="{77FDA7E4-552A-4A55-A97A-EAB7C6B7A397}" destId="{A9BF25E9-1201-4BC5-953C-BFC974066F19}" srcOrd="24" destOrd="0" presId="urn:microsoft.com/office/officeart/2008/layout/HexagonCluster"/>
    <dgm:cxn modelId="{1C38108F-A629-4577-A7D1-CC9BE37FC814}" type="presParOf" srcId="{A9BF25E9-1201-4BC5-953C-BFC974066F19}" destId="{72AA27B5-3682-4BE0-AF1F-518F769C17BE}" srcOrd="0" destOrd="0" presId="urn:microsoft.com/office/officeart/2008/layout/HexagonCluster"/>
    <dgm:cxn modelId="{E9002259-A845-49D3-96E1-7D7A8F5E32A6}" type="presParOf" srcId="{77FDA7E4-552A-4A55-A97A-EAB7C6B7A397}" destId="{B765316E-4195-4237-B9E2-F1257A7A7282}" srcOrd="25" destOrd="0" presId="urn:microsoft.com/office/officeart/2008/layout/HexagonCluster"/>
    <dgm:cxn modelId="{CE73CBA3-184C-49C0-B3D5-867E958575DE}" type="presParOf" srcId="{B765316E-4195-4237-B9E2-F1257A7A7282}" destId="{5F800A0E-1AE7-4EF1-A092-BDFBC72EEA39}" srcOrd="0" destOrd="0" presId="urn:microsoft.com/office/officeart/2008/layout/HexagonCluster"/>
    <dgm:cxn modelId="{76BD8912-0624-402E-9A33-5A9F640B20EA}" type="presParOf" srcId="{77FDA7E4-552A-4A55-A97A-EAB7C6B7A397}" destId="{0C50E130-406E-4B85-811F-3F77FDDF043F}" srcOrd="26" destOrd="0" presId="urn:microsoft.com/office/officeart/2008/layout/HexagonCluster"/>
    <dgm:cxn modelId="{7F43777B-5868-4BAE-BE1B-E2CD61885B56}" type="presParOf" srcId="{0C50E130-406E-4B85-811F-3F77FDDF043F}" destId="{0EAC2462-3D12-4326-9FEC-CAD69CDB0CA0}" srcOrd="0" destOrd="0" presId="urn:microsoft.com/office/officeart/2008/layout/HexagonCluster"/>
    <dgm:cxn modelId="{456CEC5E-A333-4B0B-844B-0A51E3A198FE}" type="presParOf" srcId="{77FDA7E4-552A-4A55-A97A-EAB7C6B7A397}" destId="{51E6EEC6-A5D5-495D-BFDF-B3C988C60FA6}" srcOrd="27" destOrd="0" presId="urn:microsoft.com/office/officeart/2008/layout/HexagonCluster"/>
    <dgm:cxn modelId="{7BAB585F-7F01-43B1-8A23-E3A243F62FAD}" type="presParOf" srcId="{51E6EEC6-A5D5-495D-BFDF-B3C988C60FA6}" destId="{AA3598E5-9193-47EA-8CE5-840D10917A33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974F7B7-2897-4938-9E16-A805B7E6D08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03B1C327-B319-4C94-8F8B-1486A34C73D0}">
      <dgm:prSet phldrT="[Szöveg]" custT="1"/>
      <dgm:spPr>
        <a:gradFill flip="none" rotWithShape="1">
          <a:gsLst>
            <a:gs pos="91000">
              <a:srgbClr val="244BAE"/>
            </a:gs>
            <a:gs pos="11000">
              <a:srgbClr val="8EBFD1"/>
            </a:gs>
          </a:gsLst>
          <a:lin ang="16200000" scaled="1"/>
          <a:tileRect/>
        </a:gradFill>
      </dgm:spPr>
      <dgm:t>
        <a:bodyPr/>
        <a:lstStyle/>
        <a:p>
          <a:r>
            <a:rPr lang="hu-HU" sz="2400" b="1" dirty="0" smtClean="0">
              <a:solidFill>
                <a:schemeClr val="bg1"/>
              </a:solidFill>
            </a:rPr>
            <a:t> - térítésmentes szolgáltatás</a:t>
          </a:r>
        </a:p>
        <a:p>
          <a:r>
            <a:rPr lang="hu-HU" sz="2400" b="1" dirty="0" smtClean="0">
              <a:solidFill>
                <a:schemeClr val="bg1"/>
              </a:solidFill>
            </a:rPr>
            <a:t> - központi üzemeltetés, karbantartás, verziókövetés, jogszabályi megfeleltetés</a:t>
          </a:r>
        </a:p>
        <a:p>
          <a:r>
            <a:rPr lang="hu-HU" sz="2400" b="1" dirty="0" smtClean="0">
              <a:solidFill>
                <a:schemeClr val="bg1"/>
              </a:solidFill>
            </a:rPr>
            <a:t> - állampolgárok és a vállalkozások igényeihez igazodó, egységes önkormányzati e-ügyintézési szolgáltatások</a:t>
          </a:r>
        </a:p>
        <a:p>
          <a:r>
            <a:rPr lang="hu-HU" sz="2400" b="1" dirty="0" smtClean="0">
              <a:solidFill>
                <a:schemeClr val="bg1"/>
              </a:solidFill>
            </a:rPr>
            <a:t> - egymással összekapcsolt szakrendszerek, ügyviteli átjárhatóság</a:t>
          </a:r>
        </a:p>
        <a:p>
          <a:r>
            <a:rPr lang="hu-HU" sz="2400" b="1" dirty="0" smtClean="0">
              <a:solidFill>
                <a:schemeClr val="bg1"/>
              </a:solidFill>
            </a:rPr>
            <a:t> - KMOP ROP pályázaton nyertesek számára helyi eszközpark fejlesztése és csatlakozás támogatása</a:t>
          </a:r>
          <a:endParaRPr lang="hu-HU" sz="2400" dirty="0"/>
        </a:p>
      </dgm:t>
    </dgm:pt>
    <dgm:pt modelId="{5F235467-76F7-40A7-A473-2AAB0E4D834F}" type="parTrans" cxnId="{BCA6D542-F77A-4181-9F1B-0A0B9703B12B}">
      <dgm:prSet/>
      <dgm:spPr/>
      <dgm:t>
        <a:bodyPr/>
        <a:lstStyle/>
        <a:p>
          <a:endParaRPr lang="hu-HU"/>
        </a:p>
      </dgm:t>
    </dgm:pt>
    <dgm:pt modelId="{861A2A86-9D8E-4C25-BB91-CFFD22F1C401}" type="sibTrans" cxnId="{BCA6D542-F77A-4181-9F1B-0A0B9703B12B}">
      <dgm:prSet/>
      <dgm:spPr/>
      <dgm:t>
        <a:bodyPr/>
        <a:lstStyle/>
        <a:p>
          <a:endParaRPr lang="hu-HU"/>
        </a:p>
      </dgm:t>
    </dgm:pt>
    <dgm:pt modelId="{C3D20D08-60FC-4866-8E3A-2E18E89DC9E2}">
      <dgm:prSet phldrT="[Szöveg]"/>
      <dgm:spPr/>
      <dgm:t>
        <a:bodyPr/>
        <a:lstStyle/>
        <a:p>
          <a:endParaRPr lang="hu-HU" dirty="0"/>
        </a:p>
      </dgm:t>
    </dgm:pt>
    <dgm:pt modelId="{5318C857-4CDA-46C4-9540-F89C61AF2E9E}" type="parTrans" cxnId="{807536E2-009A-4102-BA5C-AF37F03F6950}">
      <dgm:prSet/>
      <dgm:spPr/>
      <dgm:t>
        <a:bodyPr/>
        <a:lstStyle/>
        <a:p>
          <a:endParaRPr lang="hu-HU"/>
        </a:p>
      </dgm:t>
    </dgm:pt>
    <dgm:pt modelId="{84F1D7FD-B19E-423B-A141-AA41FFF34E9B}" type="sibTrans" cxnId="{807536E2-009A-4102-BA5C-AF37F03F6950}">
      <dgm:prSet/>
      <dgm:spPr/>
      <dgm:t>
        <a:bodyPr/>
        <a:lstStyle/>
        <a:p>
          <a:endParaRPr lang="hu-HU"/>
        </a:p>
      </dgm:t>
    </dgm:pt>
    <dgm:pt modelId="{E555BC8C-8AD8-49ED-8A12-309EC08964D1}" type="pres">
      <dgm:prSet presAssocID="{1974F7B7-2897-4938-9E16-A805B7E6D08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BB74A392-FBAB-430A-A342-FA8704B92FA1}" type="pres">
      <dgm:prSet presAssocID="{03B1C327-B319-4C94-8F8B-1486A34C73D0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46189BB0-2491-409F-99EF-0E992CA2A12B}" type="pres">
      <dgm:prSet presAssocID="{03B1C327-B319-4C94-8F8B-1486A34C73D0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9DABC286-A314-4F28-B0D6-ADA348D48AC0}" type="presOf" srcId="{1974F7B7-2897-4938-9E16-A805B7E6D081}" destId="{E555BC8C-8AD8-49ED-8A12-309EC08964D1}" srcOrd="0" destOrd="0" presId="urn:microsoft.com/office/officeart/2005/8/layout/vList2"/>
    <dgm:cxn modelId="{BCA6D542-F77A-4181-9F1B-0A0B9703B12B}" srcId="{1974F7B7-2897-4938-9E16-A805B7E6D081}" destId="{03B1C327-B319-4C94-8F8B-1486A34C73D0}" srcOrd="0" destOrd="0" parTransId="{5F235467-76F7-40A7-A473-2AAB0E4D834F}" sibTransId="{861A2A86-9D8E-4C25-BB91-CFFD22F1C401}"/>
    <dgm:cxn modelId="{FA19348C-22B7-41DA-B754-54466A8CDBC5}" type="presOf" srcId="{03B1C327-B319-4C94-8F8B-1486A34C73D0}" destId="{BB74A392-FBAB-430A-A342-FA8704B92FA1}" srcOrd="0" destOrd="0" presId="urn:microsoft.com/office/officeart/2005/8/layout/vList2"/>
    <dgm:cxn modelId="{94EAF281-BDC4-4639-A212-E3007FB04366}" type="presOf" srcId="{C3D20D08-60FC-4866-8E3A-2E18E89DC9E2}" destId="{46189BB0-2491-409F-99EF-0E992CA2A12B}" srcOrd="0" destOrd="0" presId="urn:microsoft.com/office/officeart/2005/8/layout/vList2"/>
    <dgm:cxn modelId="{807536E2-009A-4102-BA5C-AF37F03F6950}" srcId="{03B1C327-B319-4C94-8F8B-1486A34C73D0}" destId="{C3D20D08-60FC-4866-8E3A-2E18E89DC9E2}" srcOrd="0" destOrd="0" parTransId="{5318C857-4CDA-46C4-9540-F89C61AF2E9E}" sibTransId="{84F1D7FD-B19E-423B-A141-AA41FFF34E9B}"/>
    <dgm:cxn modelId="{B93DBA94-8A57-4453-97B4-1CEDDFC53D54}" type="presParOf" srcId="{E555BC8C-8AD8-49ED-8A12-309EC08964D1}" destId="{BB74A392-FBAB-430A-A342-FA8704B92FA1}" srcOrd="0" destOrd="0" presId="urn:microsoft.com/office/officeart/2005/8/layout/vList2"/>
    <dgm:cxn modelId="{4417B262-51F8-48A1-B9E8-1CF59F2AB1EA}" type="presParOf" srcId="{E555BC8C-8AD8-49ED-8A12-309EC08964D1}" destId="{46189BB0-2491-409F-99EF-0E992CA2A12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92B4147-71B5-4DF2-9459-60EE3C43A3BE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86443881-E602-4C35-BE32-C4E680638F9D}">
      <dgm:prSet phldrT="[Szöveg]" custT="1"/>
      <dgm:spPr/>
      <dgm:t>
        <a:bodyPr/>
        <a:lstStyle/>
        <a:p>
          <a:r>
            <a:rPr lang="hu-HU" sz="1600" b="1" u="sng" noProof="0" dirty="0" smtClean="0"/>
            <a:t>2014.02.28</a:t>
          </a:r>
        </a:p>
        <a:p>
          <a:r>
            <a:rPr lang="hu-HU" sz="1400" b="1" noProof="0" dirty="0" smtClean="0">
              <a:solidFill>
                <a:schemeClr val="tx1"/>
              </a:solidFill>
            </a:rPr>
            <a:t>ASP Pilot indítás</a:t>
          </a:r>
        </a:p>
        <a:p>
          <a:r>
            <a:rPr lang="hu-HU" sz="1400" b="1" noProof="0" dirty="0" smtClean="0"/>
            <a:t>17 önkormányzat portál rendszerhez csatlakozása</a:t>
          </a:r>
        </a:p>
        <a:p>
          <a:r>
            <a:rPr lang="hu-HU" sz="1400" b="1" noProof="0" dirty="0" smtClean="0"/>
            <a:t>Adó fejlesztői tesztelés indítása</a:t>
          </a:r>
          <a:endParaRPr lang="hu-HU" sz="1400" b="1" noProof="0" dirty="0"/>
        </a:p>
      </dgm:t>
    </dgm:pt>
    <dgm:pt modelId="{87AA71DE-B315-487D-9313-86B51A5B494B}" type="parTrans" cxnId="{73088017-F476-40CC-A26C-02D8F6EF1A48}">
      <dgm:prSet/>
      <dgm:spPr/>
      <dgm:t>
        <a:bodyPr/>
        <a:lstStyle/>
        <a:p>
          <a:endParaRPr lang="hu-HU" noProof="0"/>
        </a:p>
      </dgm:t>
    </dgm:pt>
    <dgm:pt modelId="{4B027195-6708-49D0-8A3D-64D1B0745AD8}" type="sibTrans" cxnId="{73088017-F476-40CC-A26C-02D8F6EF1A48}">
      <dgm:prSet/>
      <dgm:spPr/>
      <dgm:t>
        <a:bodyPr/>
        <a:lstStyle/>
        <a:p>
          <a:endParaRPr lang="hu-HU" noProof="0"/>
        </a:p>
      </dgm:t>
    </dgm:pt>
    <dgm:pt modelId="{8BB5220F-CE76-4A62-AA46-B23A6397366E}">
      <dgm:prSet phldrT="[Szöveg]" custT="1"/>
      <dgm:spPr/>
      <dgm:t>
        <a:bodyPr/>
        <a:lstStyle/>
        <a:p>
          <a:r>
            <a:rPr lang="hu-HU" sz="1600" b="1" u="sng" noProof="0" dirty="0" smtClean="0"/>
            <a:t>2014.05.30</a:t>
          </a:r>
        </a:p>
        <a:p>
          <a:r>
            <a:rPr lang="hu-HU" sz="1400" b="1" noProof="0" dirty="0" smtClean="0">
              <a:solidFill>
                <a:schemeClr val="tx1"/>
              </a:solidFill>
            </a:rPr>
            <a:t>Igazgatásszervezés</a:t>
          </a:r>
        </a:p>
        <a:p>
          <a:r>
            <a:rPr lang="hu-HU" sz="1400" b="1" noProof="0" dirty="0" smtClean="0"/>
            <a:t>Csatlakozási módszertan</a:t>
          </a:r>
          <a:br>
            <a:rPr lang="hu-HU" sz="1400" b="1" noProof="0" dirty="0" smtClean="0"/>
          </a:br>
          <a:r>
            <a:rPr lang="hu-HU" sz="1400" b="1" noProof="0" dirty="0" smtClean="0"/>
            <a:t>elkészítése</a:t>
          </a:r>
        </a:p>
        <a:p>
          <a:r>
            <a:rPr lang="hu-HU" sz="1400" b="1" noProof="0" dirty="0" smtClean="0"/>
            <a:t>Önkormányzatok bevonása </a:t>
          </a:r>
        </a:p>
        <a:p>
          <a:r>
            <a:rPr lang="hu-HU" sz="1400" b="1" noProof="0" dirty="0" smtClean="0"/>
            <a:t>Adó felhasználói tesztek indítása</a:t>
          </a:r>
          <a:endParaRPr lang="hu-HU" sz="1400" b="1" noProof="0" dirty="0"/>
        </a:p>
      </dgm:t>
    </dgm:pt>
    <dgm:pt modelId="{C31B0E70-9CFA-4A18-9401-4F8B7B4F5F88}" type="parTrans" cxnId="{9A6F8D6B-571A-479D-B860-80634393A794}">
      <dgm:prSet/>
      <dgm:spPr/>
      <dgm:t>
        <a:bodyPr/>
        <a:lstStyle/>
        <a:p>
          <a:endParaRPr lang="hu-HU" noProof="0"/>
        </a:p>
      </dgm:t>
    </dgm:pt>
    <dgm:pt modelId="{B6CB67D4-9045-4D74-AA5F-25D71EFCE8A8}" type="sibTrans" cxnId="{9A6F8D6B-571A-479D-B860-80634393A794}">
      <dgm:prSet/>
      <dgm:spPr/>
      <dgm:t>
        <a:bodyPr/>
        <a:lstStyle/>
        <a:p>
          <a:endParaRPr lang="hu-HU" noProof="0"/>
        </a:p>
      </dgm:t>
    </dgm:pt>
    <dgm:pt modelId="{C69129D6-399C-420F-A8FC-DB3EA1F0C568}">
      <dgm:prSet phldrT="[Szöveg]" custT="1"/>
      <dgm:spPr/>
      <dgm:t>
        <a:bodyPr/>
        <a:lstStyle/>
        <a:p>
          <a:endParaRPr lang="hu-HU" sz="1400" u="sng" noProof="0" dirty="0" smtClean="0"/>
        </a:p>
        <a:p>
          <a:r>
            <a:rPr lang="hu-HU" sz="1600" b="1" u="sng" noProof="0" dirty="0" smtClean="0"/>
            <a:t>2014.10.30</a:t>
          </a:r>
        </a:p>
        <a:p>
          <a:r>
            <a:rPr lang="hu-HU" sz="1400" b="1" noProof="0" dirty="0" smtClean="0">
              <a:solidFill>
                <a:schemeClr val="tx1"/>
              </a:solidFill>
            </a:rPr>
            <a:t>Szakrendszeri beszerzések lezárása</a:t>
          </a:r>
        </a:p>
        <a:p>
          <a:r>
            <a:rPr lang="hu-HU" sz="1400" b="1" noProof="0" dirty="0" smtClean="0">
              <a:solidFill>
                <a:schemeClr val="tx1"/>
              </a:solidFill>
            </a:rPr>
            <a:t>Integrációs fejlesztések</a:t>
          </a:r>
        </a:p>
        <a:p>
          <a:r>
            <a:rPr lang="hu-HU" sz="1400" b="1" noProof="0" dirty="0" smtClean="0">
              <a:solidFill>
                <a:schemeClr val="tx1"/>
              </a:solidFill>
            </a:rPr>
            <a:t>Csatlakozások előkészítése </a:t>
          </a:r>
        </a:p>
        <a:p>
          <a:endParaRPr lang="hu-HU" sz="1400" b="1" noProof="0" dirty="0" smtClean="0">
            <a:solidFill>
              <a:schemeClr val="tx1"/>
            </a:solidFill>
          </a:endParaRPr>
        </a:p>
      </dgm:t>
    </dgm:pt>
    <dgm:pt modelId="{2D2FC720-EC16-4050-88E4-58751A2DDDD8}" type="parTrans" cxnId="{6DB0E32B-8AC9-4B9C-8957-47E4E5EE5903}">
      <dgm:prSet/>
      <dgm:spPr/>
      <dgm:t>
        <a:bodyPr/>
        <a:lstStyle/>
        <a:p>
          <a:endParaRPr lang="hu-HU" noProof="0"/>
        </a:p>
      </dgm:t>
    </dgm:pt>
    <dgm:pt modelId="{01D7F3AE-6520-41AE-BAF6-B1FAE7657DD0}" type="sibTrans" cxnId="{6DB0E32B-8AC9-4B9C-8957-47E4E5EE5903}">
      <dgm:prSet/>
      <dgm:spPr/>
      <dgm:t>
        <a:bodyPr/>
        <a:lstStyle/>
        <a:p>
          <a:endParaRPr lang="hu-HU" noProof="0"/>
        </a:p>
      </dgm:t>
    </dgm:pt>
    <dgm:pt modelId="{51FA3A76-9EF1-4705-A63E-199BA8AF9730}">
      <dgm:prSet phldrT="[Szöveg]" custT="1"/>
      <dgm:spPr/>
      <dgm:t>
        <a:bodyPr/>
        <a:lstStyle/>
        <a:p>
          <a:endParaRPr lang="hu-HU" sz="1300" b="1" noProof="0" dirty="0"/>
        </a:p>
      </dgm:t>
    </dgm:pt>
    <dgm:pt modelId="{4FB115FE-9A6A-4AB9-9C3D-2CD760FC600D}" type="parTrans" cxnId="{C8D8A844-7624-4C78-AA17-DDE9E6A83AD5}">
      <dgm:prSet/>
      <dgm:spPr/>
      <dgm:t>
        <a:bodyPr/>
        <a:lstStyle/>
        <a:p>
          <a:endParaRPr lang="hu-HU" noProof="0"/>
        </a:p>
      </dgm:t>
    </dgm:pt>
    <dgm:pt modelId="{7B610E1A-44D8-4969-9AC7-F31F340B912A}" type="sibTrans" cxnId="{C8D8A844-7624-4C78-AA17-DDE9E6A83AD5}">
      <dgm:prSet/>
      <dgm:spPr/>
      <dgm:t>
        <a:bodyPr/>
        <a:lstStyle/>
        <a:p>
          <a:endParaRPr lang="hu-HU" noProof="0"/>
        </a:p>
      </dgm:t>
    </dgm:pt>
    <dgm:pt modelId="{4F6E94DE-6D0E-4E64-A363-6B9EA8E819C0}">
      <dgm:prSet phldrT="[Szöveg]" custT="1"/>
      <dgm:spPr/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hu-HU" sz="1600" b="1" u="sng" noProof="0" dirty="0" smtClean="0"/>
            <a:t>2015.03.01</a:t>
          </a:r>
          <a:r>
            <a:rPr lang="hu-HU" sz="1600" u="sng" noProof="0" dirty="0" smtClean="0"/>
            <a:t> 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hu-HU" sz="1400" b="1" noProof="0" dirty="0" smtClean="0">
              <a:solidFill>
                <a:srgbClr val="FF0000"/>
              </a:solidFill>
            </a:rPr>
            <a:t>Éles indulásra felkészülé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hu-HU" sz="1400" b="1" noProof="0" dirty="0" smtClean="0">
              <a:solidFill>
                <a:schemeClr val="tx1"/>
              </a:solidFill>
            </a:rPr>
            <a:t>Migrációs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hu-HU" sz="1400" b="1" noProof="0" dirty="0" smtClean="0">
              <a:solidFill>
                <a:schemeClr val="tx1"/>
              </a:solidFill>
            </a:rPr>
            <a:t>Integráció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hu-HU" sz="1400" b="1" noProof="0" dirty="0" smtClean="0">
              <a:solidFill>
                <a:schemeClr val="tx1"/>
              </a:solidFill>
            </a:rPr>
            <a:t>tesztek 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hu-HU" sz="1400" b="1" noProof="0" dirty="0" smtClean="0"/>
            <a:t>Oktatások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hu-HU" sz="1400" b="1" noProof="0" dirty="0" smtClean="0"/>
            <a:t>Rendszerek éles üzemre átadása 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hu-HU" sz="1400" b="1" noProof="0" dirty="0" smtClean="0"/>
            <a:t>10  önkormányzat csatlakoztatása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hu-HU" sz="1400" b="1" noProof="0" dirty="0" smtClean="0"/>
            <a:t>Projekt zárás</a:t>
          </a:r>
          <a:endParaRPr lang="hu-HU" sz="1400" b="1" noProof="0" dirty="0"/>
        </a:p>
      </dgm:t>
    </dgm:pt>
    <dgm:pt modelId="{1C6D67F9-2ECB-4A85-A715-40E8AA3C19E6}" type="parTrans" cxnId="{FBBE7FB3-2260-45E3-A288-0B0C534D232C}">
      <dgm:prSet/>
      <dgm:spPr/>
      <dgm:t>
        <a:bodyPr/>
        <a:lstStyle/>
        <a:p>
          <a:endParaRPr lang="hu-HU" noProof="0"/>
        </a:p>
      </dgm:t>
    </dgm:pt>
    <dgm:pt modelId="{EF16F9C2-E34E-49CB-B24B-A5FABD240BAE}" type="sibTrans" cxnId="{FBBE7FB3-2260-45E3-A288-0B0C534D232C}">
      <dgm:prSet/>
      <dgm:spPr/>
      <dgm:t>
        <a:bodyPr/>
        <a:lstStyle/>
        <a:p>
          <a:endParaRPr lang="hu-HU" noProof="0"/>
        </a:p>
      </dgm:t>
    </dgm:pt>
    <dgm:pt modelId="{A8048242-B860-4046-9781-823E3B60D09C}">
      <dgm:prSet phldrT="[Szöveg]"/>
      <dgm:spPr/>
      <dgm:t>
        <a:bodyPr/>
        <a:lstStyle/>
        <a:p>
          <a:endParaRPr lang="hu-HU" sz="1100" noProof="0" dirty="0"/>
        </a:p>
      </dgm:t>
    </dgm:pt>
    <dgm:pt modelId="{891D7597-B047-4237-BB2D-67AF8F723144}" type="parTrans" cxnId="{B9060C7C-A5BD-4CFD-BA60-61F4730CC8A0}">
      <dgm:prSet/>
      <dgm:spPr/>
      <dgm:t>
        <a:bodyPr/>
        <a:lstStyle/>
        <a:p>
          <a:endParaRPr lang="hu-HU"/>
        </a:p>
      </dgm:t>
    </dgm:pt>
    <dgm:pt modelId="{02C88E7D-83EA-4A08-87D5-0209692D8B59}" type="sibTrans" cxnId="{B9060C7C-A5BD-4CFD-BA60-61F4730CC8A0}">
      <dgm:prSet/>
      <dgm:spPr/>
      <dgm:t>
        <a:bodyPr/>
        <a:lstStyle/>
        <a:p>
          <a:endParaRPr lang="hu-HU"/>
        </a:p>
      </dgm:t>
    </dgm:pt>
    <dgm:pt modelId="{98DA5BFF-C1BE-4AC1-A761-5FA0A6E49BC1}">
      <dgm:prSet phldrT="[Szöveg]" custScaleX="120248" custScaleY="80894" custLinFactNeighborX="405" custLinFactNeighborY="8713"/>
      <dgm:spPr/>
      <dgm:t>
        <a:bodyPr/>
        <a:lstStyle/>
        <a:p>
          <a:endParaRPr lang="hu-HU"/>
        </a:p>
      </dgm:t>
    </dgm:pt>
    <dgm:pt modelId="{B4254FC3-648B-4424-B35F-5421DDF33336}" type="parTrans" cxnId="{7A31E7C1-AFEB-4D80-9F1C-654C3FC0628D}">
      <dgm:prSet/>
      <dgm:spPr/>
      <dgm:t>
        <a:bodyPr/>
        <a:lstStyle/>
        <a:p>
          <a:endParaRPr lang="hu-HU"/>
        </a:p>
      </dgm:t>
    </dgm:pt>
    <dgm:pt modelId="{97914E3E-A062-4E24-8FBA-0523A83AB395}" type="sibTrans" cxnId="{7A31E7C1-AFEB-4D80-9F1C-654C3FC0628D}">
      <dgm:prSet/>
      <dgm:spPr/>
      <dgm:t>
        <a:bodyPr/>
        <a:lstStyle/>
        <a:p>
          <a:endParaRPr lang="hu-HU"/>
        </a:p>
      </dgm:t>
    </dgm:pt>
    <dgm:pt modelId="{61C97616-378C-45BB-9939-1117F0586087}">
      <dgm:prSet phldrT="[Szöveg]" custScaleX="120248" custScaleY="80894" custLinFactNeighborX="-6335" custLinFactNeighborY="8713"/>
      <dgm:spPr/>
      <dgm:t>
        <a:bodyPr/>
        <a:lstStyle/>
        <a:p>
          <a:endParaRPr lang="hu-HU"/>
        </a:p>
      </dgm:t>
    </dgm:pt>
    <dgm:pt modelId="{7B81892C-72AB-46A3-AD09-EDEAAF83B6E7}" type="parTrans" cxnId="{0BD3AF0A-3E40-4641-A3DD-64F36E5B42B6}">
      <dgm:prSet/>
      <dgm:spPr/>
      <dgm:t>
        <a:bodyPr/>
        <a:lstStyle/>
        <a:p>
          <a:endParaRPr lang="hu-HU"/>
        </a:p>
      </dgm:t>
    </dgm:pt>
    <dgm:pt modelId="{FD1CD0D1-46C3-4937-ACE2-3B9DE3841A94}" type="sibTrans" cxnId="{0BD3AF0A-3E40-4641-A3DD-64F36E5B42B6}">
      <dgm:prSet/>
      <dgm:spPr/>
      <dgm:t>
        <a:bodyPr/>
        <a:lstStyle/>
        <a:p>
          <a:endParaRPr lang="hu-HU"/>
        </a:p>
      </dgm:t>
    </dgm:pt>
    <dgm:pt modelId="{14570486-7091-484C-9F66-CF0D7A43F1B6}" type="pres">
      <dgm:prSet presAssocID="{192B4147-71B5-4DF2-9459-60EE3C43A3BE}" presName="arrowDiagram" presStyleCnt="0">
        <dgm:presLayoutVars>
          <dgm:chMax val="5"/>
          <dgm:dir/>
          <dgm:resizeHandles val="exact"/>
        </dgm:presLayoutVars>
      </dgm:prSet>
      <dgm:spPr/>
    </dgm:pt>
    <dgm:pt modelId="{967BC21C-C21E-43C4-9524-38789650302E}" type="pres">
      <dgm:prSet presAssocID="{192B4147-71B5-4DF2-9459-60EE3C43A3BE}" presName="arrow" presStyleLbl="bgShp" presStyleIdx="0" presStyleCnt="1" custLinFactNeighborX="579" custLinFactNeighborY="565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</dgm:pt>
    <dgm:pt modelId="{511ED1F4-B4FC-404F-94DA-0D61E99C6E52}" type="pres">
      <dgm:prSet presAssocID="{192B4147-71B5-4DF2-9459-60EE3C43A3BE}" presName="arrowDiagram5" presStyleCnt="0"/>
      <dgm:spPr/>
    </dgm:pt>
    <dgm:pt modelId="{B6D26474-50AF-44F4-A3DA-1C0E5805CA23}" type="pres">
      <dgm:prSet presAssocID="{86443881-E602-4C35-BE32-C4E680638F9D}" presName="bullet5a" presStyleLbl="node1" presStyleIdx="0" presStyleCnt="5" custLinFactX="-90784" custLinFactY="100000" custLinFactNeighborX="-100000" custLinFactNeighborY="150918"/>
      <dgm:spPr>
        <a:solidFill>
          <a:srgbClr val="FF0000"/>
        </a:solidFill>
      </dgm:spPr>
    </dgm:pt>
    <dgm:pt modelId="{E8ADEACD-7E61-4230-BB89-25FBB88AC73E}" type="pres">
      <dgm:prSet presAssocID="{86443881-E602-4C35-BE32-C4E680638F9D}" presName="textBox5a" presStyleLbl="revTx" presStyleIdx="0" presStyleCnt="5" custScaleX="178178" custScaleY="165652" custLinFactNeighborX="48997" custLinFactNeighborY="-832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A032D0A-2BD9-4614-BE74-9B49E639775A}" type="pres">
      <dgm:prSet presAssocID="{8BB5220F-CE76-4A62-AA46-B23A6397366E}" presName="bullet5b" presStyleLbl="node1" presStyleIdx="1" presStyleCnt="5" custLinFactNeighborX="-7564" custLinFactNeighborY="41863"/>
      <dgm:spPr>
        <a:solidFill>
          <a:srgbClr val="FF0000"/>
        </a:solidFill>
      </dgm:spPr>
    </dgm:pt>
    <dgm:pt modelId="{CB750F96-95BB-4181-BE08-3C2791E3FD48}" type="pres">
      <dgm:prSet presAssocID="{8BB5220F-CE76-4A62-AA46-B23A6397366E}" presName="textBox5b" presStyleLbl="revTx" presStyleIdx="1" presStyleCnt="5" custScaleX="129078" custScaleY="113096" custLinFactNeighborX="75985" custLinFactNeighborY="-255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F1D4508-DA50-4B13-8E58-CA707F269AB0}" type="pres">
      <dgm:prSet presAssocID="{51FA3A76-9EF1-4705-A63E-199BA8AF9730}" presName="bullet5c" presStyleLbl="node1" presStyleIdx="2" presStyleCnt="5" custLinFactNeighborX="7606" custLinFactNeighborY="18832"/>
      <dgm:spPr>
        <a:solidFill>
          <a:srgbClr val="FF0000"/>
        </a:solidFill>
      </dgm:spPr>
      <dgm:t>
        <a:bodyPr/>
        <a:lstStyle/>
        <a:p>
          <a:endParaRPr lang="hu-HU"/>
        </a:p>
      </dgm:t>
    </dgm:pt>
    <dgm:pt modelId="{C4C59193-0BC0-49E2-99A7-D83431FFA672}" type="pres">
      <dgm:prSet presAssocID="{51FA3A76-9EF1-4705-A63E-199BA8AF9730}" presName="textBox5c" presStyleLbl="revTx" presStyleIdx="2" presStyleCnt="5" custLinFactY="-12498" custLinFactNeighborX="-76508" custLinFactNeighborY="-1000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FB019C4-4AD1-4F55-8C9D-1139FF0F4A9C}" type="pres">
      <dgm:prSet presAssocID="{C69129D6-399C-420F-A8FC-DB3EA1F0C568}" presName="bullet5d" presStyleLbl="node1" presStyleIdx="3" presStyleCnt="5" custLinFactNeighborX="20909" custLinFactNeighborY="8733"/>
      <dgm:spPr>
        <a:solidFill>
          <a:srgbClr val="FF0000"/>
        </a:solidFill>
      </dgm:spPr>
    </dgm:pt>
    <dgm:pt modelId="{4A6F7DA9-6694-4600-BE44-E904BE69E3CE}" type="pres">
      <dgm:prSet presAssocID="{C69129D6-399C-420F-A8FC-DB3EA1F0C568}" presName="textBox5d" presStyleLbl="revTx" presStyleIdx="3" presStyleCnt="5" custScaleY="86568" custLinFactNeighborX="-18784" custLinFactNeighborY="418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72F8800-3BEE-482B-BAF3-45EE9BB729D7}" type="pres">
      <dgm:prSet presAssocID="{4F6E94DE-6D0E-4E64-A363-6B9EA8E819C0}" presName="bullet5e" presStyleLbl="node1" presStyleIdx="4" presStyleCnt="5" custLinFactNeighborX="18606" custLinFactNeighborY="12767"/>
      <dgm:spPr>
        <a:solidFill>
          <a:srgbClr val="FF0000"/>
        </a:solidFill>
      </dgm:spPr>
    </dgm:pt>
    <dgm:pt modelId="{6102AF70-F087-45A8-9382-96A145C54212}" type="pres">
      <dgm:prSet presAssocID="{4F6E94DE-6D0E-4E64-A363-6B9EA8E819C0}" presName="textBox5e" presStyleLbl="revTx" presStyleIdx="4" presStyleCnt="5" custScaleX="120248" custScaleY="80894" custLinFactNeighborX="4807" custLinFactNeighborY="1134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73088017-F476-40CC-A26C-02D8F6EF1A48}" srcId="{192B4147-71B5-4DF2-9459-60EE3C43A3BE}" destId="{86443881-E602-4C35-BE32-C4E680638F9D}" srcOrd="0" destOrd="0" parTransId="{87AA71DE-B315-487D-9313-86B51A5B494B}" sibTransId="{4B027195-6708-49D0-8A3D-64D1B0745AD8}"/>
    <dgm:cxn modelId="{7A31E7C1-AFEB-4D80-9F1C-654C3FC0628D}" srcId="{192B4147-71B5-4DF2-9459-60EE3C43A3BE}" destId="{98DA5BFF-C1BE-4AC1-A761-5FA0A6E49BC1}" srcOrd="6" destOrd="0" parTransId="{B4254FC3-648B-4424-B35F-5421DDF33336}" sibTransId="{97914E3E-A062-4E24-8FBA-0523A83AB395}"/>
    <dgm:cxn modelId="{6DB0E32B-8AC9-4B9C-8957-47E4E5EE5903}" srcId="{192B4147-71B5-4DF2-9459-60EE3C43A3BE}" destId="{C69129D6-399C-420F-A8FC-DB3EA1F0C568}" srcOrd="3" destOrd="0" parTransId="{2D2FC720-EC16-4050-88E4-58751A2DDDD8}" sibTransId="{01D7F3AE-6520-41AE-BAF6-B1FAE7657DD0}"/>
    <dgm:cxn modelId="{03969C84-8FD5-4E21-9162-EC6D3718F99B}" type="presOf" srcId="{A8048242-B860-4046-9781-823E3B60D09C}" destId="{C4C59193-0BC0-49E2-99A7-D83431FFA672}" srcOrd="0" destOrd="1" presId="urn:microsoft.com/office/officeart/2005/8/layout/arrow2"/>
    <dgm:cxn modelId="{9156C7E5-1205-49D6-B1E4-59E8208B34D3}" type="presOf" srcId="{C69129D6-399C-420F-A8FC-DB3EA1F0C568}" destId="{4A6F7DA9-6694-4600-BE44-E904BE69E3CE}" srcOrd="0" destOrd="0" presId="urn:microsoft.com/office/officeart/2005/8/layout/arrow2"/>
    <dgm:cxn modelId="{C8D8A844-7624-4C78-AA17-DDE9E6A83AD5}" srcId="{192B4147-71B5-4DF2-9459-60EE3C43A3BE}" destId="{51FA3A76-9EF1-4705-A63E-199BA8AF9730}" srcOrd="2" destOrd="0" parTransId="{4FB115FE-9A6A-4AB9-9C3D-2CD760FC600D}" sibTransId="{7B610E1A-44D8-4969-9AC7-F31F340B912A}"/>
    <dgm:cxn modelId="{01B3FC06-8362-45B3-9A50-43BEE2733DBA}" type="presOf" srcId="{86443881-E602-4C35-BE32-C4E680638F9D}" destId="{E8ADEACD-7E61-4230-BB89-25FBB88AC73E}" srcOrd="0" destOrd="0" presId="urn:microsoft.com/office/officeart/2005/8/layout/arrow2"/>
    <dgm:cxn modelId="{81B46519-F4CF-4F0E-893F-28C24EC4B93F}" type="presOf" srcId="{4F6E94DE-6D0E-4E64-A363-6B9EA8E819C0}" destId="{6102AF70-F087-45A8-9382-96A145C54212}" srcOrd="0" destOrd="0" presId="urn:microsoft.com/office/officeart/2005/8/layout/arrow2"/>
    <dgm:cxn modelId="{B4786906-4B0D-4C31-A40B-5EACF929F637}" type="presOf" srcId="{192B4147-71B5-4DF2-9459-60EE3C43A3BE}" destId="{14570486-7091-484C-9F66-CF0D7A43F1B6}" srcOrd="0" destOrd="0" presId="urn:microsoft.com/office/officeart/2005/8/layout/arrow2"/>
    <dgm:cxn modelId="{FBBE7FB3-2260-45E3-A288-0B0C534D232C}" srcId="{192B4147-71B5-4DF2-9459-60EE3C43A3BE}" destId="{4F6E94DE-6D0E-4E64-A363-6B9EA8E819C0}" srcOrd="4" destOrd="0" parTransId="{1C6D67F9-2ECB-4A85-A715-40E8AA3C19E6}" sibTransId="{EF16F9C2-E34E-49CB-B24B-A5FABD240BAE}"/>
    <dgm:cxn modelId="{5AAC395C-BE4F-4CFC-BA3C-A36FA201F7C3}" type="presOf" srcId="{51FA3A76-9EF1-4705-A63E-199BA8AF9730}" destId="{C4C59193-0BC0-49E2-99A7-D83431FFA672}" srcOrd="0" destOrd="0" presId="urn:microsoft.com/office/officeart/2005/8/layout/arrow2"/>
    <dgm:cxn modelId="{B9060C7C-A5BD-4CFD-BA60-61F4730CC8A0}" srcId="{51FA3A76-9EF1-4705-A63E-199BA8AF9730}" destId="{A8048242-B860-4046-9781-823E3B60D09C}" srcOrd="0" destOrd="0" parTransId="{891D7597-B047-4237-BB2D-67AF8F723144}" sibTransId="{02C88E7D-83EA-4A08-87D5-0209692D8B59}"/>
    <dgm:cxn modelId="{9A6F8D6B-571A-479D-B860-80634393A794}" srcId="{192B4147-71B5-4DF2-9459-60EE3C43A3BE}" destId="{8BB5220F-CE76-4A62-AA46-B23A6397366E}" srcOrd="1" destOrd="0" parTransId="{C31B0E70-9CFA-4A18-9401-4F8B7B4F5F88}" sibTransId="{B6CB67D4-9045-4D74-AA5F-25D71EFCE8A8}"/>
    <dgm:cxn modelId="{0BD3AF0A-3E40-4641-A3DD-64F36E5B42B6}" srcId="{192B4147-71B5-4DF2-9459-60EE3C43A3BE}" destId="{61C97616-378C-45BB-9939-1117F0586087}" srcOrd="5" destOrd="0" parTransId="{7B81892C-72AB-46A3-AD09-EDEAAF83B6E7}" sibTransId="{FD1CD0D1-46C3-4937-ACE2-3B9DE3841A94}"/>
    <dgm:cxn modelId="{E72E4879-FA1A-4891-B548-CBDAC4FB299B}" type="presOf" srcId="{8BB5220F-CE76-4A62-AA46-B23A6397366E}" destId="{CB750F96-95BB-4181-BE08-3C2791E3FD48}" srcOrd="0" destOrd="0" presId="urn:microsoft.com/office/officeart/2005/8/layout/arrow2"/>
    <dgm:cxn modelId="{D5F9E70E-13A8-47CA-9E58-3D5E6645C6EA}" type="presParOf" srcId="{14570486-7091-484C-9F66-CF0D7A43F1B6}" destId="{967BC21C-C21E-43C4-9524-38789650302E}" srcOrd="0" destOrd="0" presId="urn:microsoft.com/office/officeart/2005/8/layout/arrow2"/>
    <dgm:cxn modelId="{E7C5024A-6822-4A55-81E8-A919FCB45628}" type="presParOf" srcId="{14570486-7091-484C-9F66-CF0D7A43F1B6}" destId="{511ED1F4-B4FC-404F-94DA-0D61E99C6E52}" srcOrd="1" destOrd="0" presId="urn:microsoft.com/office/officeart/2005/8/layout/arrow2"/>
    <dgm:cxn modelId="{F12B1029-B3C2-49E1-B5A5-25C781B430D7}" type="presParOf" srcId="{511ED1F4-B4FC-404F-94DA-0D61E99C6E52}" destId="{B6D26474-50AF-44F4-A3DA-1C0E5805CA23}" srcOrd="0" destOrd="0" presId="urn:microsoft.com/office/officeart/2005/8/layout/arrow2"/>
    <dgm:cxn modelId="{9342BA84-2461-4427-AE66-DAFFD9D66EEF}" type="presParOf" srcId="{511ED1F4-B4FC-404F-94DA-0D61E99C6E52}" destId="{E8ADEACD-7E61-4230-BB89-25FBB88AC73E}" srcOrd="1" destOrd="0" presId="urn:microsoft.com/office/officeart/2005/8/layout/arrow2"/>
    <dgm:cxn modelId="{5F8F9325-CDE6-483F-AA5B-74F0F694CE5E}" type="presParOf" srcId="{511ED1F4-B4FC-404F-94DA-0D61E99C6E52}" destId="{BA032D0A-2BD9-4614-BE74-9B49E639775A}" srcOrd="2" destOrd="0" presId="urn:microsoft.com/office/officeart/2005/8/layout/arrow2"/>
    <dgm:cxn modelId="{5DA45E16-3A4C-4C19-A45D-D7CC552B7570}" type="presParOf" srcId="{511ED1F4-B4FC-404F-94DA-0D61E99C6E52}" destId="{CB750F96-95BB-4181-BE08-3C2791E3FD48}" srcOrd="3" destOrd="0" presId="urn:microsoft.com/office/officeart/2005/8/layout/arrow2"/>
    <dgm:cxn modelId="{D1537A1B-8F90-4E16-A57E-AFC4244DAFE7}" type="presParOf" srcId="{511ED1F4-B4FC-404F-94DA-0D61E99C6E52}" destId="{6F1D4508-DA50-4B13-8E58-CA707F269AB0}" srcOrd="4" destOrd="0" presId="urn:microsoft.com/office/officeart/2005/8/layout/arrow2"/>
    <dgm:cxn modelId="{C4FD4DE1-D7DB-44A1-A07D-843133ABCC1F}" type="presParOf" srcId="{511ED1F4-B4FC-404F-94DA-0D61E99C6E52}" destId="{C4C59193-0BC0-49E2-99A7-D83431FFA672}" srcOrd="5" destOrd="0" presId="urn:microsoft.com/office/officeart/2005/8/layout/arrow2"/>
    <dgm:cxn modelId="{712BAC13-1581-48A7-A84C-BDBA7A8F68C7}" type="presParOf" srcId="{511ED1F4-B4FC-404F-94DA-0D61E99C6E52}" destId="{4FB019C4-4AD1-4F55-8C9D-1139FF0F4A9C}" srcOrd="6" destOrd="0" presId="urn:microsoft.com/office/officeart/2005/8/layout/arrow2"/>
    <dgm:cxn modelId="{8E336EA1-5E73-4A9D-9F22-8AA2F6F1964B}" type="presParOf" srcId="{511ED1F4-B4FC-404F-94DA-0D61E99C6E52}" destId="{4A6F7DA9-6694-4600-BE44-E904BE69E3CE}" srcOrd="7" destOrd="0" presId="urn:microsoft.com/office/officeart/2005/8/layout/arrow2"/>
    <dgm:cxn modelId="{37A9C936-9865-4B5D-8ECE-9D4A5D2EAE1B}" type="presParOf" srcId="{511ED1F4-B4FC-404F-94DA-0D61E99C6E52}" destId="{872F8800-3BEE-482B-BAF3-45EE9BB729D7}" srcOrd="8" destOrd="0" presId="urn:microsoft.com/office/officeart/2005/8/layout/arrow2"/>
    <dgm:cxn modelId="{4E947C61-5F47-4635-9541-031E63EBA5FA}" type="presParOf" srcId="{511ED1F4-B4FC-404F-94DA-0D61E99C6E52}" destId="{6102AF70-F087-45A8-9382-96A145C54212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B74A392-FBAB-430A-A342-FA8704B92FA1}">
      <dsp:nvSpPr>
        <dsp:cNvPr id="0" name=""/>
        <dsp:cNvSpPr/>
      </dsp:nvSpPr>
      <dsp:spPr>
        <a:xfrm>
          <a:off x="0" y="307141"/>
          <a:ext cx="11571316" cy="3422250"/>
        </a:xfrm>
        <a:prstGeom prst="roundRect">
          <a:avLst/>
        </a:prstGeom>
        <a:gradFill flip="none" rotWithShape="1">
          <a:gsLst>
            <a:gs pos="91000">
              <a:srgbClr val="244BAE"/>
            </a:gs>
            <a:gs pos="11000">
              <a:srgbClr val="8EBFD1"/>
            </a:gs>
          </a:gsLst>
          <a:lin ang="16200000" scaled="1"/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chemeClr val="bg1"/>
              </a:solidFill>
            </a:rPr>
            <a:t> - térítésmentes szolgáltatás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chemeClr val="bg1"/>
              </a:solidFill>
            </a:rPr>
            <a:t> - központi üzemeltetés, karbantartás, verziókövetés, jogszabályi megfeleltetés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chemeClr val="bg1"/>
              </a:solidFill>
            </a:rPr>
            <a:t> - állampolgárok és a vállalkozások igényeihez igazodó, egységes önkormányzati e-ügyintézési szolgáltatások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chemeClr val="bg1"/>
              </a:solidFill>
            </a:rPr>
            <a:t> - egymással összekapcsolt szakrendszerek, ügyviteli átjárhatóság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chemeClr val="bg1"/>
              </a:solidFill>
            </a:rPr>
            <a:t> - KMOP ROP pályázaton nyertesek számára helyi eszközpark fejlesztése és csatlakozás támogatása</a:t>
          </a:r>
          <a:endParaRPr lang="hu-HU" sz="2400" kern="1200" dirty="0"/>
        </a:p>
      </dsp:txBody>
      <dsp:txXfrm>
        <a:off x="0" y="307141"/>
        <a:ext cx="11571316" cy="3422250"/>
      </dsp:txXfrm>
    </dsp:sp>
    <dsp:sp modelId="{46189BB0-2491-409F-99EF-0E992CA2A12B}">
      <dsp:nvSpPr>
        <dsp:cNvPr id="0" name=""/>
        <dsp:cNvSpPr/>
      </dsp:nvSpPr>
      <dsp:spPr>
        <a:xfrm>
          <a:off x="0" y="3729392"/>
          <a:ext cx="11571316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7389" tIns="82550" rIns="462280" bIns="82550" numCol="1" spcCol="1270" anchor="t" anchorCtr="0">
          <a:noAutofit/>
        </a:bodyPr>
        <a:lstStyle/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hu-HU" sz="5100" kern="1200" dirty="0"/>
        </a:p>
      </dsp:txBody>
      <dsp:txXfrm>
        <a:off x="0" y="3729392"/>
        <a:ext cx="11571316" cy="107640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67BC21C-C21E-43C4-9524-38789650302E}">
      <dsp:nvSpPr>
        <dsp:cNvPr id="0" name=""/>
        <dsp:cNvSpPr/>
      </dsp:nvSpPr>
      <dsp:spPr>
        <a:xfrm>
          <a:off x="120158" y="-166469"/>
          <a:ext cx="7971505" cy="4982191"/>
        </a:xfrm>
        <a:prstGeom prst="swooshArrow">
          <a:avLst>
            <a:gd name="adj1" fmla="val 25000"/>
            <a:gd name="adj2" fmla="val 25000"/>
          </a:avLst>
        </a:prstGeom>
        <a:gradFill rotWithShape="1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</dsp:sp>
    <dsp:sp modelId="{B6D26474-50AF-44F4-A3DA-1C0E5805CA23}">
      <dsp:nvSpPr>
        <dsp:cNvPr id="0" name=""/>
        <dsp:cNvSpPr/>
      </dsp:nvSpPr>
      <dsp:spPr>
        <a:xfrm>
          <a:off x="509404" y="3970182"/>
          <a:ext cx="183344" cy="183344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ADEACD-7E61-4230-BB89-25FBB88AC73E}">
      <dsp:nvSpPr>
        <dsp:cNvPr id="0" name=""/>
        <dsp:cNvSpPr/>
      </dsp:nvSpPr>
      <dsp:spPr>
        <a:xfrm>
          <a:off x="1054335" y="3113869"/>
          <a:ext cx="1860654" cy="1964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151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noProof="0" dirty="0" smtClean="0"/>
            <a:t>2014.02.28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ASP Pilot indítá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17 önkormányzat portál rendszerhez csatlakozása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Adó fejlesztői tesztelés indítása</a:t>
          </a:r>
          <a:endParaRPr lang="hu-HU" sz="1400" b="1" kern="1200" noProof="0" dirty="0"/>
        </a:p>
      </dsp:txBody>
      <dsp:txXfrm>
        <a:off x="1054335" y="3113869"/>
        <a:ext cx="1860654" cy="1964237"/>
      </dsp:txXfrm>
    </dsp:sp>
    <dsp:sp modelId="{BA032D0A-2BD9-4614-BE74-9B49E639775A}">
      <dsp:nvSpPr>
        <dsp:cNvPr id="0" name=""/>
        <dsp:cNvSpPr/>
      </dsp:nvSpPr>
      <dsp:spPr>
        <a:xfrm>
          <a:off x="1829942" y="2676682"/>
          <a:ext cx="286974" cy="286974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750F96-95BB-4181-BE08-3C2791E3FD48}">
      <dsp:nvSpPr>
        <dsp:cNvPr id="0" name=""/>
        <dsp:cNvSpPr/>
      </dsp:nvSpPr>
      <dsp:spPr>
        <a:xfrm>
          <a:off x="2808232" y="2510088"/>
          <a:ext cx="1708050" cy="2360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062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noProof="0" dirty="0" smtClean="0"/>
            <a:t>2014.05.3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Igazgatásszervezé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Csatlakozási módszertan</a:t>
          </a:r>
          <a:br>
            <a:rPr lang="hu-HU" sz="1400" b="1" kern="1200" noProof="0" dirty="0" smtClean="0"/>
          </a:br>
          <a:r>
            <a:rPr lang="hu-HU" sz="1400" b="1" kern="1200" noProof="0" dirty="0" smtClean="0"/>
            <a:t>elkészítés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Önkormányzatok bevonása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Adó felhasználói tesztek indítása</a:t>
          </a:r>
          <a:endParaRPr lang="hu-HU" sz="1400" b="1" kern="1200" noProof="0" dirty="0"/>
        </a:p>
      </dsp:txBody>
      <dsp:txXfrm>
        <a:off x="2808232" y="2510088"/>
        <a:ext cx="1708050" cy="2360922"/>
      </dsp:txXfrm>
    </dsp:sp>
    <dsp:sp modelId="{6F1D4508-DA50-4B13-8E58-CA707F269AB0}">
      <dsp:nvSpPr>
        <dsp:cNvPr id="0" name=""/>
        <dsp:cNvSpPr/>
      </dsp:nvSpPr>
      <dsp:spPr>
        <a:xfrm>
          <a:off x="3156193" y="1868321"/>
          <a:ext cx="382632" cy="382632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C59193-0BC0-49E2-99A7-D83431FFA672}">
      <dsp:nvSpPr>
        <dsp:cNvPr id="0" name=""/>
        <dsp:cNvSpPr/>
      </dsp:nvSpPr>
      <dsp:spPr>
        <a:xfrm>
          <a:off x="2141330" y="0"/>
          <a:ext cx="1538500" cy="27999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749" tIns="0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1300" b="1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100" kern="1200" noProof="0" dirty="0"/>
        </a:p>
      </dsp:txBody>
      <dsp:txXfrm>
        <a:off x="2141330" y="0"/>
        <a:ext cx="1538500" cy="2799991"/>
      </dsp:txXfrm>
    </dsp:sp>
    <dsp:sp modelId="{4FB019C4-4AD1-4F55-8C9D-1139FF0F4A9C}">
      <dsp:nvSpPr>
        <dsp:cNvPr id="0" name=""/>
        <dsp:cNvSpPr/>
      </dsp:nvSpPr>
      <dsp:spPr>
        <a:xfrm>
          <a:off x="4713129" y="1245548"/>
          <a:ext cx="494233" cy="494233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6F7DA9-6694-4600-BE44-E904BE69E3CE}">
      <dsp:nvSpPr>
        <dsp:cNvPr id="0" name=""/>
        <dsp:cNvSpPr/>
      </dsp:nvSpPr>
      <dsp:spPr>
        <a:xfrm>
          <a:off x="4557433" y="1813353"/>
          <a:ext cx="1594301" cy="2889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884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1400" u="sng" kern="1200" noProof="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noProof="0" dirty="0" smtClean="0"/>
            <a:t>2014.10.30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Szakrendszeri beszerzések lezárása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Integrációs fejlesztések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Csatlakozások előkészítése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1400" b="1" kern="1200" noProof="0" dirty="0" smtClean="0">
            <a:solidFill>
              <a:schemeClr val="tx1"/>
            </a:solidFill>
          </a:endParaRPr>
        </a:p>
      </dsp:txBody>
      <dsp:txXfrm>
        <a:off x="4557433" y="1813353"/>
        <a:ext cx="1594301" cy="2889698"/>
      </dsp:txXfrm>
    </dsp:sp>
    <dsp:sp modelId="{872F8800-3BEE-482B-BAF3-45EE9BB729D7}">
      <dsp:nvSpPr>
        <dsp:cNvPr id="0" name=""/>
        <dsp:cNvSpPr/>
      </dsp:nvSpPr>
      <dsp:spPr>
        <a:xfrm>
          <a:off x="6253504" y="886204"/>
          <a:ext cx="629748" cy="629748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02AF70-F087-45A8-9382-96A145C54212}">
      <dsp:nvSpPr>
        <dsp:cNvPr id="0" name=""/>
        <dsp:cNvSpPr/>
      </dsp:nvSpPr>
      <dsp:spPr>
        <a:xfrm>
          <a:off x="6363804" y="1887133"/>
          <a:ext cx="1917115" cy="29662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691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noProof="0" dirty="0" smtClean="0"/>
            <a:t>2015.03.01</a:t>
          </a:r>
          <a:r>
            <a:rPr lang="hu-HU" sz="1600" u="sng" kern="1200" noProof="0" dirty="0" smtClean="0"/>
            <a:t>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>
              <a:solidFill>
                <a:srgbClr val="FF0000"/>
              </a:solidFill>
            </a:rPr>
            <a:t>Éles indulásra felkészülés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Migrációs, 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Integrációs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hu-HU" sz="1400" b="1" kern="1200" noProof="0" dirty="0" smtClean="0">
              <a:solidFill>
                <a:schemeClr val="tx1"/>
              </a:solidFill>
            </a:rPr>
            <a:t>tesztek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Oktatások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Rendszerek éles üzemre átadása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10  önkormányzat csatlakoztatása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noProof="0" dirty="0" smtClean="0"/>
            <a:t>Projekt zárás</a:t>
          </a:r>
          <a:endParaRPr lang="hu-HU" sz="1400" b="1" kern="1200" noProof="0" dirty="0"/>
        </a:p>
      </dsp:txBody>
      <dsp:txXfrm>
        <a:off x="6363804" y="1887133"/>
        <a:ext cx="1917115" cy="29662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A207CA-25EB-4E3B-98FB-CE40ACC233B5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536EFC-8E3D-4911-AABC-915C564362A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53584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6" Type="http://schemas.openxmlformats.org/officeDocument/2006/relationships/image" Target="../media/image6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2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doboz 6"/>
          <p:cNvSpPr txBox="1"/>
          <p:nvPr userDrawn="1"/>
        </p:nvSpPr>
        <p:spPr>
          <a:xfrm>
            <a:off x="475998" y="5250001"/>
            <a:ext cx="90774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őadó neve (</a:t>
            </a:r>
            <a:r>
              <a:rPr lang="hu-HU" sz="2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</a:t>
            </a:r>
            <a:r>
              <a:rPr lang="hu-HU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20)</a:t>
            </a:r>
          </a:p>
          <a:p>
            <a:r>
              <a:rPr lang="hu-HU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átum</a:t>
            </a:r>
            <a:endParaRPr lang="hu-HU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Cím 1"/>
          <p:cNvSpPr txBox="1">
            <a:spLocks/>
          </p:cNvSpPr>
          <p:nvPr userDrawn="1"/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sz="6000" dirty="0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előadás címe (</a:t>
            </a:r>
            <a:r>
              <a:rPr lang="hu-HU" sz="6000" dirty="0" err="1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</a:t>
            </a:r>
            <a:r>
              <a:rPr lang="hu-HU" sz="6000" dirty="0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60)</a:t>
            </a:r>
            <a:endParaRPr lang="hu-HU" sz="60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Alcím 2"/>
          <p:cNvSpPr txBox="1">
            <a:spLocks/>
          </p:cNvSpPr>
          <p:nvPr userDrawn="1"/>
        </p:nvSpPr>
        <p:spPr>
          <a:xfrm>
            <a:off x="1524000" y="3602038"/>
            <a:ext cx="9144000" cy="703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hu-HU" sz="24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cím (</a:t>
            </a:r>
            <a:r>
              <a:rPr lang="hu-HU" sz="2400" i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</a:t>
            </a:r>
            <a:r>
              <a:rPr lang="hu-HU" sz="24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24, döntött)</a:t>
            </a:r>
            <a:endParaRPr lang="hu-HU" sz="2400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0316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rfolyama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15" name="Kanyar jobbra 14"/>
          <p:cNvSpPr/>
          <p:nvPr userDrawn="1"/>
        </p:nvSpPr>
        <p:spPr>
          <a:xfrm>
            <a:off x="2914429" y="2185450"/>
            <a:ext cx="3039799" cy="2310076"/>
          </a:xfrm>
          <a:prstGeom prst="bentArrow">
            <a:avLst>
              <a:gd name="adj1" fmla="val 50625"/>
              <a:gd name="adj2" fmla="val 39322"/>
              <a:gd name="adj3" fmla="val 33497"/>
              <a:gd name="adj4" fmla="val 75579"/>
            </a:avLst>
          </a:prstGeom>
          <a:solidFill>
            <a:srgbClr val="046081"/>
          </a:solidFill>
          <a:scene3d>
            <a:camera prst="orthographicFront">
              <a:rot lat="0" lon="0" rev="27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bg1"/>
              </a:solidFill>
            </a:endParaRPr>
          </a:p>
        </p:txBody>
      </p:sp>
      <p:sp>
        <p:nvSpPr>
          <p:cNvPr id="16" name="Kanyar jobbra 15"/>
          <p:cNvSpPr/>
          <p:nvPr userDrawn="1"/>
        </p:nvSpPr>
        <p:spPr>
          <a:xfrm>
            <a:off x="4575210" y="4563188"/>
            <a:ext cx="3039799" cy="2310076"/>
          </a:xfrm>
          <a:prstGeom prst="bentArrow">
            <a:avLst>
              <a:gd name="adj1" fmla="val 50625"/>
              <a:gd name="adj2" fmla="val 39322"/>
              <a:gd name="adj3" fmla="val 33497"/>
              <a:gd name="adj4" fmla="val 75579"/>
            </a:avLst>
          </a:prstGeom>
          <a:solidFill>
            <a:srgbClr val="046081"/>
          </a:solidFill>
          <a:scene3d>
            <a:camera prst="orthographicFront">
              <a:rot lat="0" lon="0" rev="81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bg1"/>
              </a:solidFill>
            </a:endParaRPr>
          </a:p>
        </p:txBody>
      </p:sp>
      <p:sp>
        <p:nvSpPr>
          <p:cNvPr id="17" name="Kanyar jobbra 16"/>
          <p:cNvSpPr/>
          <p:nvPr userDrawn="1"/>
        </p:nvSpPr>
        <p:spPr>
          <a:xfrm>
            <a:off x="5347748" y="623624"/>
            <a:ext cx="3039799" cy="2310076"/>
          </a:xfrm>
          <a:prstGeom prst="bentArrow">
            <a:avLst>
              <a:gd name="adj1" fmla="val 50625"/>
              <a:gd name="adj2" fmla="val 39322"/>
              <a:gd name="adj3" fmla="val 33497"/>
              <a:gd name="adj4" fmla="val 75579"/>
            </a:avLst>
          </a:prstGeom>
          <a:solidFill>
            <a:srgbClr val="046081"/>
          </a:solidFill>
          <a:scene3d>
            <a:camera prst="orthographicFront">
              <a:rot lat="0" lon="0" rev="189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18" name="Kanyar jobbra 17"/>
          <p:cNvSpPr/>
          <p:nvPr userDrawn="1"/>
        </p:nvSpPr>
        <p:spPr>
          <a:xfrm>
            <a:off x="7046011" y="2975428"/>
            <a:ext cx="3039799" cy="2310076"/>
          </a:xfrm>
          <a:prstGeom prst="bentArrow">
            <a:avLst>
              <a:gd name="adj1" fmla="val 50625"/>
              <a:gd name="adj2" fmla="val 39322"/>
              <a:gd name="adj3" fmla="val 33497"/>
              <a:gd name="adj4" fmla="val 75579"/>
            </a:avLst>
          </a:prstGeom>
          <a:solidFill>
            <a:srgbClr val="046081"/>
          </a:solidFill>
          <a:scene3d>
            <a:camera prst="orthographicFront">
              <a:rot lat="0" lon="0" rev="135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bg1"/>
              </a:solidFill>
            </a:endParaRPr>
          </a:p>
        </p:txBody>
      </p:sp>
      <p:sp>
        <p:nvSpPr>
          <p:cNvPr id="19" name="Szövegdoboz 18"/>
          <p:cNvSpPr txBox="1"/>
          <p:nvPr userDrawn="1"/>
        </p:nvSpPr>
        <p:spPr>
          <a:xfrm>
            <a:off x="5954228" y="1342040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0" name="Szövegdoboz 19"/>
          <p:cNvSpPr txBox="1"/>
          <p:nvPr userDrawn="1"/>
        </p:nvSpPr>
        <p:spPr>
          <a:xfrm>
            <a:off x="3617265" y="3493749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1" name="Szövegdoboz 20"/>
          <p:cNvSpPr txBox="1"/>
          <p:nvPr userDrawn="1"/>
        </p:nvSpPr>
        <p:spPr>
          <a:xfrm>
            <a:off x="8373863" y="3488945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2" name="Szövegdoboz 21"/>
          <p:cNvSpPr txBox="1"/>
          <p:nvPr userDrawn="1"/>
        </p:nvSpPr>
        <p:spPr>
          <a:xfrm>
            <a:off x="5954227" y="5679903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0031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rfolyamat4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13" name="Rectangle 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2294" y="4082119"/>
            <a:ext cx="11086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defTabSz="8572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r>
              <a:rPr lang="de-DE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Szövegdoboz 13"/>
          <p:cNvSpPr txBox="1"/>
          <p:nvPr userDrawn="1"/>
        </p:nvSpPr>
        <p:spPr>
          <a:xfrm>
            <a:off x="5954228" y="1342040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3" name="Szövegdoboz 22"/>
          <p:cNvSpPr txBox="1"/>
          <p:nvPr userDrawn="1"/>
        </p:nvSpPr>
        <p:spPr>
          <a:xfrm>
            <a:off x="3617265" y="3493749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4" name="Szövegdoboz 23"/>
          <p:cNvSpPr txBox="1"/>
          <p:nvPr userDrawn="1"/>
        </p:nvSpPr>
        <p:spPr>
          <a:xfrm>
            <a:off x="8373863" y="3488945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5" name="Szövegdoboz 24"/>
          <p:cNvSpPr txBox="1"/>
          <p:nvPr userDrawn="1"/>
        </p:nvSpPr>
        <p:spPr>
          <a:xfrm>
            <a:off x="5954227" y="5679903"/>
            <a:ext cx="104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6" name="Körbe nyíl 25"/>
          <p:cNvSpPr/>
          <p:nvPr userDrawn="1"/>
        </p:nvSpPr>
        <p:spPr>
          <a:xfrm>
            <a:off x="3611512" y="990340"/>
            <a:ext cx="5375374" cy="5375374"/>
          </a:xfrm>
          <a:prstGeom prst="circularArrow">
            <a:avLst>
              <a:gd name="adj1" fmla="val 5544"/>
              <a:gd name="adj2" fmla="val 330680"/>
              <a:gd name="adj3" fmla="val 13755051"/>
              <a:gd name="adj4" fmla="val 17398681"/>
              <a:gd name="adj5" fmla="val 5757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7" name="Szabadkézi sokszög 26"/>
          <p:cNvSpPr/>
          <p:nvPr userDrawn="1"/>
        </p:nvSpPr>
        <p:spPr>
          <a:xfrm>
            <a:off x="5029341" y="1025492"/>
            <a:ext cx="2539716" cy="1269858"/>
          </a:xfrm>
          <a:custGeom>
            <a:avLst/>
            <a:gdLst>
              <a:gd name="connsiteX0" fmla="*/ 0 w 2539716"/>
              <a:gd name="connsiteY0" fmla="*/ 211647 h 1269858"/>
              <a:gd name="connsiteX1" fmla="*/ 211647 w 2539716"/>
              <a:gd name="connsiteY1" fmla="*/ 0 h 1269858"/>
              <a:gd name="connsiteX2" fmla="*/ 2328069 w 2539716"/>
              <a:gd name="connsiteY2" fmla="*/ 0 h 1269858"/>
              <a:gd name="connsiteX3" fmla="*/ 2539716 w 2539716"/>
              <a:gd name="connsiteY3" fmla="*/ 211647 h 1269858"/>
              <a:gd name="connsiteX4" fmla="*/ 2539716 w 2539716"/>
              <a:gd name="connsiteY4" fmla="*/ 1058211 h 1269858"/>
              <a:gd name="connsiteX5" fmla="*/ 2328069 w 2539716"/>
              <a:gd name="connsiteY5" fmla="*/ 1269858 h 1269858"/>
              <a:gd name="connsiteX6" fmla="*/ 211647 w 2539716"/>
              <a:gd name="connsiteY6" fmla="*/ 1269858 h 1269858"/>
              <a:gd name="connsiteX7" fmla="*/ 0 w 2539716"/>
              <a:gd name="connsiteY7" fmla="*/ 1058211 h 1269858"/>
              <a:gd name="connsiteX8" fmla="*/ 0 w 2539716"/>
              <a:gd name="connsiteY8" fmla="*/ 211647 h 1269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39716" h="1269858">
                <a:moveTo>
                  <a:pt x="0" y="211647"/>
                </a:moveTo>
                <a:cubicBezTo>
                  <a:pt x="0" y="94758"/>
                  <a:pt x="94758" y="0"/>
                  <a:pt x="211647" y="0"/>
                </a:cubicBezTo>
                <a:lnTo>
                  <a:pt x="2328069" y="0"/>
                </a:lnTo>
                <a:cubicBezTo>
                  <a:pt x="2444958" y="0"/>
                  <a:pt x="2539716" y="94758"/>
                  <a:pt x="2539716" y="211647"/>
                </a:cubicBezTo>
                <a:lnTo>
                  <a:pt x="2539716" y="1058211"/>
                </a:lnTo>
                <a:cubicBezTo>
                  <a:pt x="2539716" y="1175100"/>
                  <a:pt x="2444958" y="1269858"/>
                  <a:pt x="2328069" y="1269858"/>
                </a:cubicBezTo>
                <a:lnTo>
                  <a:pt x="211647" y="1269858"/>
                </a:lnTo>
                <a:cubicBezTo>
                  <a:pt x="94758" y="1269858"/>
                  <a:pt x="0" y="1175100"/>
                  <a:pt x="0" y="1058211"/>
                </a:cubicBezTo>
                <a:lnTo>
                  <a:pt x="0" y="211647"/>
                </a:lnTo>
                <a:close/>
              </a:path>
            </a:pathLst>
          </a:custGeom>
          <a:solidFill>
            <a:srgbClr val="04608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3429" tIns="153429" rIns="153429" bIns="153429" numCol="1" spcCol="1270" anchor="ctr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400" kern="1200" dirty="0" smtClean="0">
                <a:solidFill>
                  <a:schemeClr val="bg1"/>
                </a:solidFill>
              </a:rPr>
              <a:t>Szöveg</a:t>
            </a:r>
            <a:endParaRPr lang="hu-HU" sz="2400" kern="1200" dirty="0">
              <a:solidFill>
                <a:schemeClr val="bg1"/>
              </a:solidFill>
            </a:endParaRPr>
          </a:p>
        </p:txBody>
      </p:sp>
      <p:sp>
        <p:nvSpPr>
          <p:cNvPr id="28" name="Szabadkézi sokszög 27"/>
          <p:cNvSpPr/>
          <p:nvPr userDrawn="1"/>
        </p:nvSpPr>
        <p:spPr>
          <a:xfrm>
            <a:off x="7104005" y="3043098"/>
            <a:ext cx="2539716" cy="1269858"/>
          </a:xfrm>
          <a:custGeom>
            <a:avLst/>
            <a:gdLst>
              <a:gd name="connsiteX0" fmla="*/ 0 w 2539716"/>
              <a:gd name="connsiteY0" fmla="*/ 211647 h 1269858"/>
              <a:gd name="connsiteX1" fmla="*/ 211647 w 2539716"/>
              <a:gd name="connsiteY1" fmla="*/ 0 h 1269858"/>
              <a:gd name="connsiteX2" fmla="*/ 2328069 w 2539716"/>
              <a:gd name="connsiteY2" fmla="*/ 0 h 1269858"/>
              <a:gd name="connsiteX3" fmla="*/ 2539716 w 2539716"/>
              <a:gd name="connsiteY3" fmla="*/ 211647 h 1269858"/>
              <a:gd name="connsiteX4" fmla="*/ 2539716 w 2539716"/>
              <a:gd name="connsiteY4" fmla="*/ 1058211 h 1269858"/>
              <a:gd name="connsiteX5" fmla="*/ 2328069 w 2539716"/>
              <a:gd name="connsiteY5" fmla="*/ 1269858 h 1269858"/>
              <a:gd name="connsiteX6" fmla="*/ 211647 w 2539716"/>
              <a:gd name="connsiteY6" fmla="*/ 1269858 h 1269858"/>
              <a:gd name="connsiteX7" fmla="*/ 0 w 2539716"/>
              <a:gd name="connsiteY7" fmla="*/ 1058211 h 1269858"/>
              <a:gd name="connsiteX8" fmla="*/ 0 w 2539716"/>
              <a:gd name="connsiteY8" fmla="*/ 211647 h 1269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39716" h="1269858">
                <a:moveTo>
                  <a:pt x="0" y="211647"/>
                </a:moveTo>
                <a:cubicBezTo>
                  <a:pt x="0" y="94758"/>
                  <a:pt x="94758" y="0"/>
                  <a:pt x="211647" y="0"/>
                </a:cubicBezTo>
                <a:lnTo>
                  <a:pt x="2328069" y="0"/>
                </a:lnTo>
                <a:cubicBezTo>
                  <a:pt x="2444958" y="0"/>
                  <a:pt x="2539716" y="94758"/>
                  <a:pt x="2539716" y="211647"/>
                </a:cubicBezTo>
                <a:lnTo>
                  <a:pt x="2539716" y="1058211"/>
                </a:lnTo>
                <a:cubicBezTo>
                  <a:pt x="2539716" y="1175100"/>
                  <a:pt x="2444958" y="1269858"/>
                  <a:pt x="2328069" y="1269858"/>
                </a:cubicBezTo>
                <a:lnTo>
                  <a:pt x="211647" y="1269858"/>
                </a:lnTo>
                <a:cubicBezTo>
                  <a:pt x="94758" y="1269858"/>
                  <a:pt x="0" y="1175100"/>
                  <a:pt x="0" y="1058211"/>
                </a:cubicBezTo>
                <a:lnTo>
                  <a:pt x="0" y="211647"/>
                </a:lnTo>
                <a:close/>
              </a:path>
            </a:pathLst>
          </a:custGeom>
          <a:solidFill>
            <a:srgbClr val="04608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3429" tIns="153429" rIns="153429" bIns="153429" numCol="1" spcCol="1270" anchor="ctr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400" kern="1200" dirty="0" smtClean="0">
                <a:solidFill>
                  <a:schemeClr val="bg1"/>
                </a:solidFill>
              </a:rPr>
              <a:t>Szöveg</a:t>
            </a:r>
            <a:endParaRPr lang="hu-HU" sz="2400" kern="1200" dirty="0">
              <a:solidFill>
                <a:schemeClr val="bg1"/>
              </a:solidFill>
            </a:endParaRPr>
          </a:p>
        </p:txBody>
      </p:sp>
      <p:sp>
        <p:nvSpPr>
          <p:cNvPr id="29" name="Szabadkézi sokszög 28"/>
          <p:cNvSpPr/>
          <p:nvPr userDrawn="1"/>
        </p:nvSpPr>
        <p:spPr>
          <a:xfrm>
            <a:off x="5029341" y="5044974"/>
            <a:ext cx="2539716" cy="1269858"/>
          </a:xfrm>
          <a:custGeom>
            <a:avLst/>
            <a:gdLst>
              <a:gd name="connsiteX0" fmla="*/ 0 w 2539716"/>
              <a:gd name="connsiteY0" fmla="*/ 211647 h 1269858"/>
              <a:gd name="connsiteX1" fmla="*/ 211647 w 2539716"/>
              <a:gd name="connsiteY1" fmla="*/ 0 h 1269858"/>
              <a:gd name="connsiteX2" fmla="*/ 2328069 w 2539716"/>
              <a:gd name="connsiteY2" fmla="*/ 0 h 1269858"/>
              <a:gd name="connsiteX3" fmla="*/ 2539716 w 2539716"/>
              <a:gd name="connsiteY3" fmla="*/ 211647 h 1269858"/>
              <a:gd name="connsiteX4" fmla="*/ 2539716 w 2539716"/>
              <a:gd name="connsiteY4" fmla="*/ 1058211 h 1269858"/>
              <a:gd name="connsiteX5" fmla="*/ 2328069 w 2539716"/>
              <a:gd name="connsiteY5" fmla="*/ 1269858 h 1269858"/>
              <a:gd name="connsiteX6" fmla="*/ 211647 w 2539716"/>
              <a:gd name="connsiteY6" fmla="*/ 1269858 h 1269858"/>
              <a:gd name="connsiteX7" fmla="*/ 0 w 2539716"/>
              <a:gd name="connsiteY7" fmla="*/ 1058211 h 1269858"/>
              <a:gd name="connsiteX8" fmla="*/ 0 w 2539716"/>
              <a:gd name="connsiteY8" fmla="*/ 211647 h 1269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39716" h="1269858">
                <a:moveTo>
                  <a:pt x="0" y="211647"/>
                </a:moveTo>
                <a:cubicBezTo>
                  <a:pt x="0" y="94758"/>
                  <a:pt x="94758" y="0"/>
                  <a:pt x="211647" y="0"/>
                </a:cubicBezTo>
                <a:lnTo>
                  <a:pt x="2328069" y="0"/>
                </a:lnTo>
                <a:cubicBezTo>
                  <a:pt x="2444958" y="0"/>
                  <a:pt x="2539716" y="94758"/>
                  <a:pt x="2539716" y="211647"/>
                </a:cubicBezTo>
                <a:lnTo>
                  <a:pt x="2539716" y="1058211"/>
                </a:lnTo>
                <a:cubicBezTo>
                  <a:pt x="2539716" y="1175100"/>
                  <a:pt x="2444958" y="1269858"/>
                  <a:pt x="2328069" y="1269858"/>
                </a:cubicBezTo>
                <a:lnTo>
                  <a:pt x="211647" y="1269858"/>
                </a:lnTo>
                <a:cubicBezTo>
                  <a:pt x="94758" y="1269858"/>
                  <a:pt x="0" y="1175100"/>
                  <a:pt x="0" y="1058211"/>
                </a:cubicBezTo>
                <a:lnTo>
                  <a:pt x="0" y="211647"/>
                </a:lnTo>
                <a:close/>
              </a:path>
            </a:pathLst>
          </a:custGeom>
          <a:solidFill>
            <a:srgbClr val="04608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3429" tIns="153429" rIns="153429" bIns="153429" numCol="1" spcCol="1270" anchor="ctr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400" kern="1200" dirty="0" smtClean="0">
                <a:solidFill>
                  <a:schemeClr val="bg1"/>
                </a:solidFill>
              </a:rPr>
              <a:t>Szöveg</a:t>
            </a:r>
            <a:endParaRPr lang="hu-HU" sz="2400" kern="1200" dirty="0">
              <a:solidFill>
                <a:schemeClr val="bg1"/>
              </a:solidFill>
            </a:endParaRPr>
          </a:p>
        </p:txBody>
      </p:sp>
      <p:sp>
        <p:nvSpPr>
          <p:cNvPr id="30" name="Szabadkézi sokszög 29"/>
          <p:cNvSpPr/>
          <p:nvPr userDrawn="1"/>
        </p:nvSpPr>
        <p:spPr>
          <a:xfrm>
            <a:off x="2869921" y="3043098"/>
            <a:ext cx="2539716" cy="1269858"/>
          </a:xfrm>
          <a:custGeom>
            <a:avLst/>
            <a:gdLst>
              <a:gd name="connsiteX0" fmla="*/ 0 w 2539716"/>
              <a:gd name="connsiteY0" fmla="*/ 211647 h 1269858"/>
              <a:gd name="connsiteX1" fmla="*/ 211647 w 2539716"/>
              <a:gd name="connsiteY1" fmla="*/ 0 h 1269858"/>
              <a:gd name="connsiteX2" fmla="*/ 2328069 w 2539716"/>
              <a:gd name="connsiteY2" fmla="*/ 0 h 1269858"/>
              <a:gd name="connsiteX3" fmla="*/ 2539716 w 2539716"/>
              <a:gd name="connsiteY3" fmla="*/ 211647 h 1269858"/>
              <a:gd name="connsiteX4" fmla="*/ 2539716 w 2539716"/>
              <a:gd name="connsiteY4" fmla="*/ 1058211 h 1269858"/>
              <a:gd name="connsiteX5" fmla="*/ 2328069 w 2539716"/>
              <a:gd name="connsiteY5" fmla="*/ 1269858 h 1269858"/>
              <a:gd name="connsiteX6" fmla="*/ 211647 w 2539716"/>
              <a:gd name="connsiteY6" fmla="*/ 1269858 h 1269858"/>
              <a:gd name="connsiteX7" fmla="*/ 0 w 2539716"/>
              <a:gd name="connsiteY7" fmla="*/ 1058211 h 1269858"/>
              <a:gd name="connsiteX8" fmla="*/ 0 w 2539716"/>
              <a:gd name="connsiteY8" fmla="*/ 211647 h 1269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39716" h="1269858">
                <a:moveTo>
                  <a:pt x="0" y="211647"/>
                </a:moveTo>
                <a:cubicBezTo>
                  <a:pt x="0" y="94758"/>
                  <a:pt x="94758" y="0"/>
                  <a:pt x="211647" y="0"/>
                </a:cubicBezTo>
                <a:lnTo>
                  <a:pt x="2328069" y="0"/>
                </a:lnTo>
                <a:cubicBezTo>
                  <a:pt x="2444958" y="0"/>
                  <a:pt x="2539716" y="94758"/>
                  <a:pt x="2539716" y="211647"/>
                </a:cubicBezTo>
                <a:lnTo>
                  <a:pt x="2539716" y="1058211"/>
                </a:lnTo>
                <a:cubicBezTo>
                  <a:pt x="2539716" y="1175100"/>
                  <a:pt x="2444958" y="1269858"/>
                  <a:pt x="2328069" y="1269858"/>
                </a:cubicBezTo>
                <a:lnTo>
                  <a:pt x="211647" y="1269858"/>
                </a:lnTo>
                <a:cubicBezTo>
                  <a:pt x="94758" y="1269858"/>
                  <a:pt x="0" y="1175100"/>
                  <a:pt x="0" y="1058211"/>
                </a:cubicBezTo>
                <a:lnTo>
                  <a:pt x="0" y="211647"/>
                </a:lnTo>
                <a:close/>
              </a:path>
            </a:pathLst>
          </a:custGeom>
          <a:solidFill>
            <a:srgbClr val="04608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3429" tIns="153429" rIns="153429" bIns="153429" numCol="1" spcCol="1270" anchor="ctr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400" kern="1200" dirty="0" smtClean="0">
                <a:solidFill>
                  <a:schemeClr val="bg1"/>
                </a:solidFill>
              </a:rPr>
              <a:t>Szöveg</a:t>
            </a:r>
            <a:endParaRPr lang="hu-HU" sz="24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8176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rfolyamat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grpSp>
        <p:nvGrpSpPr>
          <p:cNvPr id="15" name="Csoportba foglalás 14"/>
          <p:cNvGrpSpPr/>
          <p:nvPr userDrawn="1"/>
        </p:nvGrpSpPr>
        <p:grpSpPr>
          <a:xfrm>
            <a:off x="2820234" y="990340"/>
            <a:ext cx="6899874" cy="5245360"/>
            <a:chOff x="2820234" y="990340"/>
            <a:chExt cx="6899874" cy="5451766"/>
          </a:xfrm>
        </p:grpSpPr>
        <p:sp>
          <p:nvSpPr>
            <p:cNvPr id="16" name="Körbe nyíl 15"/>
            <p:cNvSpPr/>
            <p:nvPr/>
          </p:nvSpPr>
          <p:spPr>
            <a:xfrm>
              <a:off x="3611512" y="990340"/>
              <a:ext cx="5375374" cy="5375374"/>
            </a:xfrm>
            <a:prstGeom prst="circularArrow">
              <a:avLst>
                <a:gd name="adj1" fmla="val 5544"/>
                <a:gd name="adj2" fmla="val 330680"/>
                <a:gd name="adj3" fmla="val 13755051"/>
                <a:gd name="adj4" fmla="val 17398681"/>
                <a:gd name="adj5" fmla="val 5757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Szabadkézi sokszög 16"/>
            <p:cNvSpPr/>
            <p:nvPr/>
          </p:nvSpPr>
          <p:spPr>
            <a:xfrm>
              <a:off x="5029341" y="1025492"/>
              <a:ext cx="2539716" cy="1269858"/>
            </a:xfrm>
            <a:custGeom>
              <a:avLst/>
              <a:gdLst>
                <a:gd name="connsiteX0" fmla="*/ 0 w 2539716"/>
                <a:gd name="connsiteY0" fmla="*/ 211647 h 1269858"/>
                <a:gd name="connsiteX1" fmla="*/ 211647 w 2539716"/>
                <a:gd name="connsiteY1" fmla="*/ 0 h 1269858"/>
                <a:gd name="connsiteX2" fmla="*/ 2328069 w 2539716"/>
                <a:gd name="connsiteY2" fmla="*/ 0 h 1269858"/>
                <a:gd name="connsiteX3" fmla="*/ 2539716 w 2539716"/>
                <a:gd name="connsiteY3" fmla="*/ 211647 h 1269858"/>
                <a:gd name="connsiteX4" fmla="*/ 2539716 w 2539716"/>
                <a:gd name="connsiteY4" fmla="*/ 1058211 h 1269858"/>
                <a:gd name="connsiteX5" fmla="*/ 2328069 w 2539716"/>
                <a:gd name="connsiteY5" fmla="*/ 1269858 h 1269858"/>
                <a:gd name="connsiteX6" fmla="*/ 211647 w 2539716"/>
                <a:gd name="connsiteY6" fmla="*/ 1269858 h 1269858"/>
                <a:gd name="connsiteX7" fmla="*/ 0 w 2539716"/>
                <a:gd name="connsiteY7" fmla="*/ 1058211 h 1269858"/>
                <a:gd name="connsiteX8" fmla="*/ 0 w 2539716"/>
                <a:gd name="connsiteY8" fmla="*/ 211647 h 126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9716" h="1269858">
                  <a:moveTo>
                    <a:pt x="0" y="211647"/>
                  </a:moveTo>
                  <a:cubicBezTo>
                    <a:pt x="0" y="94758"/>
                    <a:pt x="94758" y="0"/>
                    <a:pt x="211647" y="0"/>
                  </a:cubicBezTo>
                  <a:lnTo>
                    <a:pt x="2328069" y="0"/>
                  </a:lnTo>
                  <a:cubicBezTo>
                    <a:pt x="2444958" y="0"/>
                    <a:pt x="2539716" y="94758"/>
                    <a:pt x="2539716" y="211647"/>
                  </a:cubicBezTo>
                  <a:lnTo>
                    <a:pt x="2539716" y="1058211"/>
                  </a:lnTo>
                  <a:cubicBezTo>
                    <a:pt x="2539716" y="1175100"/>
                    <a:pt x="2444958" y="1269858"/>
                    <a:pt x="2328069" y="1269858"/>
                  </a:cubicBezTo>
                  <a:lnTo>
                    <a:pt x="211647" y="1269858"/>
                  </a:lnTo>
                  <a:cubicBezTo>
                    <a:pt x="94758" y="1269858"/>
                    <a:pt x="0" y="1175100"/>
                    <a:pt x="0" y="1058211"/>
                  </a:cubicBezTo>
                  <a:lnTo>
                    <a:pt x="0" y="211647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3429" tIns="153429" rIns="153429" bIns="15342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/>
                <a:t>Szöveg</a:t>
              </a:r>
              <a:endParaRPr lang="hu-HU" sz="2400" kern="1200" dirty="0"/>
            </a:p>
          </p:txBody>
        </p:sp>
        <p:sp>
          <p:nvSpPr>
            <p:cNvPr id="18" name="Szabadkézi sokszög 17"/>
            <p:cNvSpPr/>
            <p:nvPr/>
          </p:nvSpPr>
          <p:spPr>
            <a:xfrm>
              <a:off x="7180392" y="2960385"/>
              <a:ext cx="2539716" cy="1269858"/>
            </a:xfrm>
            <a:custGeom>
              <a:avLst/>
              <a:gdLst>
                <a:gd name="connsiteX0" fmla="*/ 0 w 2539716"/>
                <a:gd name="connsiteY0" fmla="*/ 211647 h 1269858"/>
                <a:gd name="connsiteX1" fmla="*/ 211647 w 2539716"/>
                <a:gd name="connsiteY1" fmla="*/ 0 h 1269858"/>
                <a:gd name="connsiteX2" fmla="*/ 2328069 w 2539716"/>
                <a:gd name="connsiteY2" fmla="*/ 0 h 1269858"/>
                <a:gd name="connsiteX3" fmla="*/ 2539716 w 2539716"/>
                <a:gd name="connsiteY3" fmla="*/ 211647 h 1269858"/>
                <a:gd name="connsiteX4" fmla="*/ 2539716 w 2539716"/>
                <a:gd name="connsiteY4" fmla="*/ 1058211 h 1269858"/>
                <a:gd name="connsiteX5" fmla="*/ 2328069 w 2539716"/>
                <a:gd name="connsiteY5" fmla="*/ 1269858 h 1269858"/>
                <a:gd name="connsiteX6" fmla="*/ 211647 w 2539716"/>
                <a:gd name="connsiteY6" fmla="*/ 1269858 h 1269858"/>
                <a:gd name="connsiteX7" fmla="*/ 0 w 2539716"/>
                <a:gd name="connsiteY7" fmla="*/ 1058211 h 1269858"/>
                <a:gd name="connsiteX8" fmla="*/ 0 w 2539716"/>
                <a:gd name="connsiteY8" fmla="*/ 211647 h 126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9716" h="1269858">
                  <a:moveTo>
                    <a:pt x="0" y="211647"/>
                  </a:moveTo>
                  <a:cubicBezTo>
                    <a:pt x="0" y="94758"/>
                    <a:pt x="94758" y="0"/>
                    <a:pt x="211647" y="0"/>
                  </a:cubicBezTo>
                  <a:lnTo>
                    <a:pt x="2328069" y="0"/>
                  </a:lnTo>
                  <a:cubicBezTo>
                    <a:pt x="2444958" y="0"/>
                    <a:pt x="2539716" y="94758"/>
                    <a:pt x="2539716" y="211647"/>
                  </a:cubicBezTo>
                  <a:lnTo>
                    <a:pt x="2539716" y="1058211"/>
                  </a:lnTo>
                  <a:cubicBezTo>
                    <a:pt x="2539716" y="1175100"/>
                    <a:pt x="2444958" y="1269858"/>
                    <a:pt x="2328069" y="1269858"/>
                  </a:cubicBezTo>
                  <a:lnTo>
                    <a:pt x="211647" y="1269858"/>
                  </a:lnTo>
                  <a:cubicBezTo>
                    <a:pt x="94758" y="1269858"/>
                    <a:pt x="0" y="1175100"/>
                    <a:pt x="0" y="1058211"/>
                  </a:cubicBezTo>
                  <a:lnTo>
                    <a:pt x="0" y="211647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3429" tIns="153429" rIns="153429" bIns="15342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/>
                <a:t>Szöveg</a:t>
              </a:r>
              <a:endParaRPr lang="hu-HU" sz="2400" kern="1200" dirty="0"/>
            </a:p>
          </p:txBody>
        </p:sp>
        <p:sp>
          <p:nvSpPr>
            <p:cNvPr id="19" name="Szabadkézi sokszög 18"/>
            <p:cNvSpPr/>
            <p:nvPr/>
          </p:nvSpPr>
          <p:spPr>
            <a:xfrm>
              <a:off x="6376704" y="5172248"/>
              <a:ext cx="2539716" cy="1269858"/>
            </a:xfrm>
            <a:custGeom>
              <a:avLst/>
              <a:gdLst>
                <a:gd name="connsiteX0" fmla="*/ 0 w 2539716"/>
                <a:gd name="connsiteY0" fmla="*/ 211647 h 1269858"/>
                <a:gd name="connsiteX1" fmla="*/ 211647 w 2539716"/>
                <a:gd name="connsiteY1" fmla="*/ 0 h 1269858"/>
                <a:gd name="connsiteX2" fmla="*/ 2328069 w 2539716"/>
                <a:gd name="connsiteY2" fmla="*/ 0 h 1269858"/>
                <a:gd name="connsiteX3" fmla="*/ 2539716 w 2539716"/>
                <a:gd name="connsiteY3" fmla="*/ 211647 h 1269858"/>
                <a:gd name="connsiteX4" fmla="*/ 2539716 w 2539716"/>
                <a:gd name="connsiteY4" fmla="*/ 1058211 h 1269858"/>
                <a:gd name="connsiteX5" fmla="*/ 2328069 w 2539716"/>
                <a:gd name="connsiteY5" fmla="*/ 1269858 h 1269858"/>
                <a:gd name="connsiteX6" fmla="*/ 211647 w 2539716"/>
                <a:gd name="connsiteY6" fmla="*/ 1269858 h 1269858"/>
                <a:gd name="connsiteX7" fmla="*/ 0 w 2539716"/>
                <a:gd name="connsiteY7" fmla="*/ 1058211 h 1269858"/>
                <a:gd name="connsiteX8" fmla="*/ 0 w 2539716"/>
                <a:gd name="connsiteY8" fmla="*/ 211647 h 126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9716" h="1269858">
                  <a:moveTo>
                    <a:pt x="0" y="211647"/>
                  </a:moveTo>
                  <a:cubicBezTo>
                    <a:pt x="0" y="94758"/>
                    <a:pt x="94758" y="0"/>
                    <a:pt x="211647" y="0"/>
                  </a:cubicBezTo>
                  <a:lnTo>
                    <a:pt x="2328069" y="0"/>
                  </a:lnTo>
                  <a:cubicBezTo>
                    <a:pt x="2444958" y="0"/>
                    <a:pt x="2539716" y="94758"/>
                    <a:pt x="2539716" y="211647"/>
                  </a:cubicBezTo>
                  <a:lnTo>
                    <a:pt x="2539716" y="1058211"/>
                  </a:lnTo>
                  <a:cubicBezTo>
                    <a:pt x="2539716" y="1175100"/>
                    <a:pt x="2444958" y="1269858"/>
                    <a:pt x="2328069" y="1269858"/>
                  </a:cubicBezTo>
                  <a:lnTo>
                    <a:pt x="211647" y="1269858"/>
                  </a:lnTo>
                  <a:cubicBezTo>
                    <a:pt x="94758" y="1269858"/>
                    <a:pt x="0" y="1175100"/>
                    <a:pt x="0" y="1058211"/>
                  </a:cubicBezTo>
                  <a:lnTo>
                    <a:pt x="0" y="211647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3429" tIns="153429" rIns="153429" bIns="15342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/>
                <a:t>Szöveg</a:t>
              </a:r>
              <a:endParaRPr lang="hu-HU" sz="2400" kern="1200" dirty="0"/>
            </a:p>
          </p:txBody>
        </p:sp>
        <p:sp>
          <p:nvSpPr>
            <p:cNvPr id="20" name="Szabadkézi sokszög 19"/>
            <p:cNvSpPr/>
            <p:nvPr/>
          </p:nvSpPr>
          <p:spPr>
            <a:xfrm>
              <a:off x="3681978" y="5172248"/>
              <a:ext cx="2539716" cy="1269858"/>
            </a:xfrm>
            <a:custGeom>
              <a:avLst/>
              <a:gdLst>
                <a:gd name="connsiteX0" fmla="*/ 0 w 2539716"/>
                <a:gd name="connsiteY0" fmla="*/ 211647 h 1269858"/>
                <a:gd name="connsiteX1" fmla="*/ 211647 w 2539716"/>
                <a:gd name="connsiteY1" fmla="*/ 0 h 1269858"/>
                <a:gd name="connsiteX2" fmla="*/ 2328069 w 2539716"/>
                <a:gd name="connsiteY2" fmla="*/ 0 h 1269858"/>
                <a:gd name="connsiteX3" fmla="*/ 2539716 w 2539716"/>
                <a:gd name="connsiteY3" fmla="*/ 211647 h 1269858"/>
                <a:gd name="connsiteX4" fmla="*/ 2539716 w 2539716"/>
                <a:gd name="connsiteY4" fmla="*/ 1058211 h 1269858"/>
                <a:gd name="connsiteX5" fmla="*/ 2328069 w 2539716"/>
                <a:gd name="connsiteY5" fmla="*/ 1269858 h 1269858"/>
                <a:gd name="connsiteX6" fmla="*/ 211647 w 2539716"/>
                <a:gd name="connsiteY6" fmla="*/ 1269858 h 1269858"/>
                <a:gd name="connsiteX7" fmla="*/ 0 w 2539716"/>
                <a:gd name="connsiteY7" fmla="*/ 1058211 h 1269858"/>
                <a:gd name="connsiteX8" fmla="*/ 0 w 2539716"/>
                <a:gd name="connsiteY8" fmla="*/ 211647 h 126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9716" h="1269858">
                  <a:moveTo>
                    <a:pt x="0" y="211647"/>
                  </a:moveTo>
                  <a:cubicBezTo>
                    <a:pt x="0" y="94758"/>
                    <a:pt x="94758" y="0"/>
                    <a:pt x="211647" y="0"/>
                  </a:cubicBezTo>
                  <a:lnTo>
                    <a:pt x="2328069" y="0"/>
                  </a:lnTo>
                  <a:cubicBezTo>
                    <a:pt x="2444958" y="0"/>
                    <a:pt x="2539716" y="94758"/>
                    <a:pt x="2539716" y="211647"/>
                  </a:cubicBezTo>
                  <a:lnTo>
                    <a:pt x="2539716" y="1058211"/>
                  </a:lnTo>
                  <a:cubicBezTo>
                    <a:pt x="2539716" y="1175100"/>
                    <a:pt x="2444958" y="1269858"/>
                    <a:pt x="2328069" y="1269858"/>
                  </a:cubicBezTo>
                  <a:lnTo>
                    <a:pt x="211647" y="1269858"/>
                  </a:lnTo>
                  <a:cubicBezTo>
                    <a:pt x="94758" y="1269858"/>
                    <a:pt x="0" y="1175100"/>
                    <a:pt x="0" y="1058211"/>
                  </a:cubicBezTo>
                  <a:lnTo>
                    <a:pt x="0" y="211647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3429" tIns="153429" rIns="153429" bIns="15342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/>
                <a:t>Szöveg</a:t>
              </a:r>
              <a:endParaRPr lang="hu-HU" sz="2400" kern="1200" dirty="0"/>
            </a:p>
          </p:txBody>
        </p:sp>
        <p:sp>
          <p:nvSpPr>
            <p:cNvPr id="21" name="Szabadkézi sokszög 20"/>
            <p:cNvSpPr/>
            <p:nvPr/>
          </p:nvSpPr>
          <p:spPr>
            <a:xfrm>
              <a:off x="2820234" y="2960385"/>
              <a:ext cx="2539716" cy="1269858"/>
            </a:xfrm>
            <a:custGeom>
              <a:avLst/>
              <a:gdLst>
                <a:gd name="connsiteX0" fmla="*/ 0 w 2539716"/>
                <a:gd name="connsiteY0" fmla="*/ 211647 h 1269858"/>
                <a:gd name="connsiteX1" fmla="*/ 211647 w 2539716"/>
                <a:gd name="connsiteY1" fmla="*/ 0 h 1269858"/>
                <a:gd name="connsiteX2" fmla="*/ 2328069 w 2539716"/>
                <a:gd name="connsiteY2" fmla="*/ 0 h 1269858"/>
                <a:gd name="connsiteX3" fmla="*/ 2539716 w 2539716"/>
                <a:gd name="connsiteY3" fmla="*/ 211647 h 1269858"/>
                <a:gd name="connsiteX4" fmla="*/ 2539716 w 2539716"/>
                <a:gd name="connsiteY4" fmla="*/ 1058211 h 1269858"/>
                <a:gd name="connsiteX5" fmla="*/ 2328069 w 2539716"/>
                <a:gd name="connsiteY5" fmla="*/ 1269858 h 1269858"/>
                <a:gd name="connsiteX6" fmla="*/ 211647 w 2539716"/>
                <a:gd name="connsiteY6" fmla="*/ 1269858 h 1269858"/>
                <a:gd name="connsiteX7" fmla="*/ 0 w 2539716"/>
                <a:gd name="connsiteY7" fmla="*/ 1058211 h 1269858"/>
                <a:gd name="connsiteX8" fmla="*/ 0 w 2539716"/>
                <a:gd name="connsiteY8" fmla="*/ 211647 h 126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9716" h="1269858">
                  <a:moveTo>
                    <a:pt x="0" y="211647"/>
                  </a:moveTo>
                  <a:cubicBezTo>
                    <a:pt x="0" y="94758"/>
                    <a:pt x="94758" y="0"/>
                    <a:pt x="211647" y="0"/>
                  </a:cubicBezTo>
                  <a:lnTo>
                    <a:pt x="2328069" y="0"/>
                  </a:lnTo>
                  <a:cubicBezTo>
                    <a:pt x="2444958" y="0"/>
                    <a:pt x="2539716" y="94758"/>
                    <a:pt x="2539716" y="211647"/>
                  </a:cubicBezTo>
                  <a:lnTo>
                    <a:pt x="2539716" y="1058211"/>
                  </a:lnTo>
                  <a:cubicBezTo>
                    <a:pt x="2539716" y="1175100"/>
                    <a:pt x="2444958" y="1269858"/>
                    <a:pt x="2328069" y="1269858"/>
                  </a:cubicBezTo>
                  <a:lnTo>
                    <a:pt x="211647" y="1269858"/>
                  </a:lnTo>
                  <a:cubicBezTo>
                    <a:pt x="94758" y="1269858"/>
                    <a:pt x="0" y="1175100"/>
                    <a:pt x="0" y="1058211"/>
                  </a:cubicBezTo>
                  <a:lnTo>
                    <a:pt x="0" y="211647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3429" tIns="153429" rIns="153429" bIns="15342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/>
                <a:t>Szöveg</a:t>
              </a:r>
              <a:endParaRPr lang="hu-HU" sz="24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71508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áromszö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12" name="Háromszög 11"/>
          <p:cNvSpPr/>
          <p:nvPr userDrawn="1"/>
        </p:nvSpPr>
        <p:spPr>
          <a:xfrm>
            <a:off x="4258969" y="2046514"/>
            <a:ext cx="4789714" cy="3309257"/>
          </a:xfrm>
          <a:prstGeom prst="triangle">
            <a:avLst/>
          </a:prstGeom>
          <a:noFill/>
          <a:ln w="206375"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Szövegdoboz 12"/>
          <p:cNvSpPr txBox="1"/>
          <p:nvPr userDrawn="1"/>
        </p:nvSpPr>
        <p:spPr>
          <a:xfrm rot="18418039">
            <a:off x="4193604" y="3022122"/>
            <a:ext cx="17053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/>
              <a:t>Szöveg</a:t>
            </a:r>
            <a:endParaRPr lang="hu-HU" sz="3200" dirty="0"/>
          </a:p>
        </p:txBody>
      </p:sp>
      <p:sp>
        <p:nvSpPr>
          <p:cNvPr id="14" name="Szövegdoboz 13"/>
          <p:cNvSpPr txBox="1"/>
          <p:nvPr userDrawn="1"/>
        </p:nvSpPr>
        <p:spPr>
          <a:xfrm>
            <a:off x="5387454" y="5546550"/>
            <a:ext cx="2532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/>
              <a:t>Szöveg</a:t>
            </a:r>
            <a:endParaRPr lang="hu-HU" sz="3200" dirty="0"/>
          </a:p>
        </p:txBody>
      </p:sp>
      <p:sp>
        <p:nvSpPr>
          <p:cNvPr id="22" name="Szövegdoboz 21"/>
          <p:cNvSpPr txBox="1"/>
          <p:nvPr userDrawn="1"/>
        </p:nvSpPr>
        <p:spPr>
          <a:xfrm rot="3200035">
            <a:off x="7138198" y="3022123"/>
            <a:ext cx="20986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/>
              <a:t>Szöveg</a:t>
            </a:r>
            <a:endParaRPr lang="hu-HU" sz="3200" dirty="0"/>
          </a:p>
        </p:txBody>
      </p:sp>
      <p:sp>
        <p:nvSpPr>
          <p:cNvPr id="23" name="Szövegdoboz 22"/>
          <p:cNvSpPr txBox="1"/>
          <p:nvPr userDrawn="1"/>
        </p:nvSpPr>
        <p:spPr>
          <a:xfrm>
            <a:off x="5604486" y="3879234"/>
            <a:ext cx="20986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dirty="0" smtClean="0"/>
              <a:t>Szöveg</a:t>
            </a:r>
            <a:endParaRPr lang="hu-HU" sz="3200" dirty="0"/>
          </a:p>
        </p:txBody>
      </p:sp>
    </p:spTree>
    <p:extLst>
      <p:ext uri="{BB962C8B-B14F-4D97-AF65-F5344CB8AC3E}">
        <p14:creationId xmlns:p14="http://schemas.microsoft.com/office/powerpoint/2010/main" xmlns="" val="987969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égyszö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grpSp>
        <p:nvGrpSpPr>
          <p:cNvPr id="9" name="Csoportba foglalás 8"/>
          <p:cNvGrpSpPr/>
          <p:nvPr userDrawn="1"/>
        </p:nvGrpSpPr>
        <p:grpSpPr>
          <a:xfrm>
            <a:off x="1260795" y="1097039"/>
            <a:ext cx="9726519" cy="5113262"/>
            <a:chOff x="1260795" y="1097038"/>
            <a:chExt cx="9726519" cy="5418667"/>
          </a:xfrm>
        </p:grpSpPr>
        <p:sp>
          <p:nvSpPr>
            <p:cNvPr id="10" name="Téglalap 9"/>
            <p:cNvSpPr/>
            <p:nvPr/>
          </p:nvSpPr>
          <p:spPr>
            <a:xfrm>
              <a:off x="1260796" y="1097038"/>
              <a:ext cx="9726518" cy="5418667"/>
            </a:xfrm>
            <a:prstGeom prst="rect">
              <a:avLst/>
            </a:prstGeom>
            <a:noFill/>
          </p:spPr>
        </p:sp>
        <p:sp>
          <p:nvSpPr>
            <p:cNvPr id="11" name="Szabadkézi sokszög 10"/>
            <p:cNvSpPr/>
            <p:nvPr/>
          </p:nvSpPr>
          <p:spPr>
            <a:xfrm rot="21600000">
              <a:off x="1260795" y="1097038"/>
              <a:ext cx="4863259" cy="2709334"/>
            </a:xfrm>
            <a:custGeom>
              <a:avLst/>
              <a:gdLst>
                <a:gd name="connsiteX0" fmla="*/ 0 w 2709333"/>
                <a:gd name="connsiteY0" fmla="*/ 0 h 4863258"/>
                <a:gd name="connsiteX1" fmla="*/ 2257768 w 2709333"/>
                <a:gd name="connsiteY1" fmla="*/ 0 h 4863258"/>
                <a:gd name="connsiteX2" fmla="*/ 2709333 w 2709333"/>
                <a:gd name="connsiteY2" fmla="*/ 451565 h 4863258"/>
                <a:gd name="connsiteX3" fmla="*/ 2709333 w 2709333"/>
                <a:gd name="connsiteY3" fmla="*/ 4863258 h 4863258"/>
                <a:gd name="connsiteX4" fmla="*/ 0 w 2709333"/>
                <a:gd name="connsiteY4" fmla="*/ 4863258 h 4863258"/>
                <a:gd name="connsiteX5" fmla="*/ 0 w 2709333"/>
                <a:gd name="connsiteY5" fmla="*/ 0 h 486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9333" h="4863258">
                  <a:moveTo>
                    <a:pt x="0" y="4863257"/>
                  </a:moveTo>
                  <a:lnTo>
                    <a:pt x="0" y="810561"/>
                  </a:lnTo>
                  <a:cubicBezTo>
                    <a:pt x="0" y="362902"/>
                    <a:pt x="112631" y="1"/>
                    <a:pt x="251568" y="1"/>
                  </a:cubicBezTo>
                  <a:lnTo>
                    <a:pt x="2709333" y="1"/>
                  </a:lnTo>
                  <a:lnTo>
                    <a:pt x="2709333" y="4863257"/>
                  </a:lnTo>
                  <a:lnTo>
                    <a:pt x="0" y="4863257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2280" tIns="462279" rIns="462280" bIns="1139614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5" name="Szabadkézi sokszög 14"/>
            <p:cNvSpPr/>
            <p:nvPr/>
          </p:nvSpPr>
          <p:spPr>
            <a:xfrm>
              <a:off x="6124054" y="1097038"/>
              <a:ext cx="4863258" cy="2709333"/>
            </a:xfrm>
            <a:custGeom>
              <a:avLst/>
              <a:gdLst>
                <a:gd name="connsiteX0" fmla="*/ 0 w 4863258"/>
                <a:gd name="connsiteY0" fmla="*/ 0 h 2709333"/>
                <a:gd name="connsiteX1" fmla="*/ 4411693 w 4863258"/>
                <a:gd name="connsiteY1" fmla="*/ 0 h 2709333"/>
                <a:gd name="connsiteX2" fmla="*/ 4863258 w 4863258"/>
                <a:gd name="connsiteY2" fmla="*/ 451565 h 2709333"/>
                <a:gd name="connsiteX3" fmla="*/ 4863258 w 4863258"/>
                <a:gd name="connsiteY3" fmla="*/ 2709333 h 2709333"/>
                <a:gd name="connsiteX4" fmla="*/ 0 w 4863258"/>
                <a:gd name="connsiteY4" fmla="*/ 2709333 h 2709333"/>
                <a:gd name="connsiteX5" fmla="*/ 0 w 4863258"/>
                <a:gd name="connsiteY5" fmla="*/ 0 h 270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3258" h="2709333">
                  <a:moveTo>
                    <a:pt x="0" y="0"/>
                  </a:moveTo>
                  <a:lnTo>
                    <a:pt x="4411693" y="0"/>
                  </a:lnTo>
                  <a:cubicBezTo>
                    <a:pt x="4661085" y="0"/>
                    <a:pt x="4863258" y="202173"/>
                    <a:pt x="4863258" y="451565"/>
                  </a:cubicBezTo>
                  <a:lnTo>
                    <a:pt x="4863258" y="2709333"/>
                  </a:lnTo>
                  <a:lnTo>
                    <a:pt x="0" y="2709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1139613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6" name="Szabadkézi sokszög 15"/>
            <p:cNvSpPr/>
            <p:nvPr/>
          </p:nvSpPr>
          <p:spPr>
            <a:xfrm rot="21600000">
              <a:off x="1260796" y="3806370"/>
              <a:ext cx="4863259" cy="2709334"/>
            </a:xfrm>
            <a:custGeom>
              <a:avLst/>
              <a:gdLst>
                <a:gd name="connsiteX0" fmla="*/ 0 w 4863258"/>
                <a:gd name="connsiteY0" fmla="*/ 0 h 2709333"/>
                <a:gd name="connsiteX1" fmla="*/ 4411693 w 4863258"/>
                <a:gd name="connsiteY1" fmla="*/ 0 h 2709333"/>
                <a:gd name="connsiteX2" fmla="*/ 4863258 w 4863258"/>
                <a:gd name="connsiteY2" fmla="*/ 451565 h 2709333"/>
                <a:gd name="connsiteX3" fmla="*/ 4863258 w 4863258"/>
                <a:gd name="connsiteY3" fmla="*/ 2709333 h 2709333"/>
                <a:gd name="connsiteX4" fmla="*/ 0 w 4863258"/>
                <a:gd name="connsiteY4" fmla="*/ 2709333 h 2709333"/>
                <a:gd name="connsiteX5" fmla="*/ 0 w 4863258"/>
                <a:gd name="connsiteY5" fmla="*/ 0 h 270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3258" h="2709333">
                  <a:moveTo>
                    <a:pt x="4863258" y="2709333"/>
                  </a:moveTo>
                  <a:lnTo>
                    <a:pt x="451565" y="2709333"/>
                  </a:lnTo>
                  <a:cubicBezTo>
                    <a:pt x="202173" y="2709333"/>
                    <a:pt x="0" y="2507160"/>
                    <a:pt x="0" y="2257768"/>
                  </a:cubicBezTo>
                  <a:lnTo>
                    <a:pt x="0" y="0"/>
                  </a:lnTo>
                  <a:lnTo>
                    <a:pt x="4863258" y="0"/>
                  </a:lnTo>
                  <a:lnTo>
                    <a:pt x="4863258" y="2709333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2279" tIns="1139614" rIns="462281" bIns="462280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7" name="Szabadkézi sokszög 16"/>
            <p:cNvSpPr/>
            <p:nvPr/>
          </p:nvSpPr>
          <p:spPr>
            <a:xfrm>
              <a:off x="6124054" y="3806370"/>
              <a:ext cx="4863259" cy="2709334"/>
            </a:xfrm>
            <a:custGeom>
              <a:avLst/>
              <a:gdLst>
                <a:gd name="connsiteX0" fmla="*/ 0 w 2709333"/>
                <a:gd name="connsiteY0" fmla="*/ 0 h 4863258"/>
                <a:gd name="connsiteX1" fmla="*/ 2257768 w 2709333"/>
                <a:gd name="connsiteY1" fmla="*/ 0 h 4863258"/>
                <a:gd name="connsiteX2" fmla="*/ 2709333 w 2709333"/>
                <a:gd name="connsiteY2" fmla="*/ 451565 h 4863258"/>
                <a:gd name="connsiteX3" fmla="*/ 2709333 w 2709333"/>
                <a:gd name="connsiteY3" fmla="*/ 4863258 h 4863258"/>
                <a:gd name="connsiteX4" fmla="*/ 0 w 2709333"/>
                <a:gd name="connsiteY4" fmla="*/ 4863258 h 4863258"/>
                <a:gd name="connsiteX5" fmla="*/ 0 w 2709333"/>
                <a:gd name="connsiteY5" fmla="*/ 0 h 486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9333" h="4863258">
                  <a:moveTo>
                    <a:pt x="2709333" y="1"/>
                  </a:moveTo>
                  <a:lnTo>
                    <a:pt x="2709333" y="4052697"/>
                  </a:lnTo>
                  <a:cubicBezTo>
                    <a:pt x="2709333" y="4500356"/>
                    <a:pt x="2596702" y="4863257"/>
                    <a:pt x="2457765" y="4863257"/>
                  </a:cubicBezTo>
                  <a:lnTo>
                    <a:pt x="0" y="4863257"/>
                  </a:lnTo>
                  <a:lnTo>
                    <a:pt x="0" y="1"/>
                  </a:lnTo>
                  <a:lnTo>
                    <a:pt x="2709333" y="1"/>
                  </a:lnTo>
                  <a:close/>
                </a:path>
              </a:pathLst>
            </a:custGeom>
            <a:solidFill>
              <a:srgbClr val="04608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2281" tIns="1139614" rIns="462280" bIns="462280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8" name="Szabadkézi sokszög 17"/>
            <p:cNvSpPr/>
            <p:nvPr/>
          </p:nvSpPr>
          <p:spPr>
            <a:xfrm>
              <a:off x="4665077" y="3129038"/>
              <a:ext cx="2917955" cy="1354666"/>
            </a:xfrm>
            <a:custGeom>
              <a:avLst/>
              <a:gdLst>
                <a:gd name="connsiteX0" fmla="*/ 0 w 2917955"/>
                <a:gd name="connsiteY0" fmla="*/ 225782 h 1354666"/>
                <a:gd name="connsiteX1" fmla="*/ 225782 w 2917955"/>
                <a:gd name="connsiteY1" fmla="*/ 0 h 1354666"/>
                <a:gd name="connsiteX2" fmla="*/ 2692173 w 2917955"/>
                <a:gd name="connsiteY2" fmla="*/ 0 h 1354666"/>
                <a:gd name="connsiteX3" fmla="*/ 2917955 w 2917955"/>
                <a:gd name="connsiteY3" fmla="*/ 225782 h 1354666"/>
                <a:gd name="connsiteX4" fmla="*/ 2917955 w 2917955"/>
                <a:gd name="connsiteY4" fmla="*/ 1128884 h 1354666"/>
                <a:gd name="connsiteX5" fmla="*/ 2692173 w 2917955"/>
                <a:gd name="connsiteY5" fmla="*/ 1354666 h 1354666"/>
                <a:gd name="connsiteX6" fmla="*/ 225782 w 2917955"/>
                <a:gd name="connsiteY6" fmla="*/ 1354666 h 1354666"/>
                <a:gd name="connsiteX7" fmla="*/ 0 w 2917955"/>
                <a:gd name="connsiteY7" fmla="*/ 1128884 h 1354666"/>
                <a:gd name="connsiteX8" fmla="*/ 0 w 2917955"/>
                <a:gd name="connsiteY8" fmla="*/ 225782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7955" h="1354666">
                  <a:moveTo>
                    <a:pt x="0" y="225782"/>
                  </a:moveTo>
                  <a:cubicBezTo>
                    <a:pt x="0" y="101086"/>
                    <a:pt x="101086" y="0"/>
                    <a:pt x="225782" y="0"/>
                  </a:cubicBezTo>
                  <a:lnTo>
                    <a:pt x="2692173" y="0"/>
                  </a:lnTo>
                  <a:cubicBezTo>
                    <a:pt x="2816869" y="0"/>
                    <a:pt x="2917955" y="101086"/>
                    <a:pt x="2917955" y="225782"/>
                  </a:cubicBezTo>
                  <a:lnTo>
                    <a:pt x="2917955" y="1128884"/>
                  </a:lnTo>
                  <a:cubicBezTo>
                    <a:pt x="2917955" y="1253580"/>
                    <a:pt x="2816869" y="1354666"/>
                    <a:pt x="2692173" y="1354666"/>
                  </a:cubicBezTo>
                  <a:lnTo>
                    <a:pt x="225782" y="1354666"/>
                  </a:lnTo>
                  <a:cubicBezTo>
                    <a:pt x="101086" y="1354666"/>
                    <a:pt x="0" y="1253580"/>
                    <a:pt x="0" y="1128884"/>
                  </a:cubicBezTo>
                  <a:lnTo>
                    <a:pt x="0" y="225782"/>
                  </a:lnTo>
                  <a:close/>
                </a:path>
              </a:pathLst>
            </a:custGeom>
            <a:solidFill>
              <a:srgbClr val="8EBFD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5679" tIns="275679" rIns="275679" bIns="275679" numCol="1" spcCol="1270" anchor="ctr" anchorCtr="0">
              <a:noAutofit/>
            </a:bodyPr>
            <a:lstStyle/>
            <a:p>
              <a:pPr lvl="0"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tx1"/>
                  </a:solidFill>
                </a:rPr>
                <a:t>Szöveg</a:t>
              </a:r>
              <a:endParaRPr lang="hu-HU" sz="2400" kern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7323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éhsej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graphicFrame>
        <p:nvGraphicFramePr>
          <p:cNvPr id="12" name="Tartalom helye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334162357"/>
              </p:ext>
            </p:extLst>
          </p:nvPr>
        </p:nvGraphicFramePr>
        <p:xfrm>
          <a:off x="838200" y="1540701"/>
          <a:ext cx="10515600" cy="46362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71426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őny-hátrány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6" name="Rectangle 1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44468" y="1074970"/>
            <a:ext cx="3464131" cy="655638"/>
          </a:xfrm>
          <a:prstGeom prst="rect">
            <a:avLst/>
          </a:prstGeom>
          <a:solidFill>
            <a:srgbClr val="05678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algn="ctr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r>
              <a:rPr lang="hu-HU" sz="2400" dirty="0" smtClean="0">
                <a:solidFill>
                  <a:srgbClr val="FFFFFF"/>
                </a:solidFill>
              </a:rPr>
              <a:t>Szempont1</a:t>
            </a: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736821" y="1074970"/>
            <a:ext cx="3451644" cy="655638"/>
          </a:xfrm>
          <a:prstGeom prst="rect">
            <a:avLst/>
          </a:prstGeom>
          <a:solidFill>
            <a:srgbClr val="05678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algn="ctr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r>
              <a:rPr lang="hu-HU" sz="2400" dirty="0" smtClean="0">
                <a:solidFill>
                  <a:srgbClr val="FFFFFF"/>
                </a:solidFill>
              </a:rPr>
              <a:t>Szempont2</a:t>
            </a: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9" name="Rectangle 1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16685" y="1074970"/>
            <a:ext cx="3614057" cy="655638"/>
          </a:xfrm>
          <a:prstGeom prst="rect">
            <a:avLst/>
          </a:prstGeom>
          <a:solidFill>
            <a:srgbClr val="05678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algn="ctr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r>
              <a:rPr lang="hu-HU" sz="2400" dirty="0" smtClean="0">
                <a:solidFill>
                  <a:srgbClr val="FFFFFF"/>
                </a:solidFill>
              </a:rPr>
              <a:t>Szempont3</a:t>
            </a: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10" name="Rectangle 1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4468" y="1843315"/>
            <a:ext cx="3464131" cy="20585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80975" indent="-180975"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Char char="n"/>
            </a:pPr>
            <a:r>
              <a:rPr lang="de-DE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144468" y="4114802"/>
            <a:ext cx="3464131" cy="2095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80975" indent="-180975"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Char char="n"/>
            </a:pPr>
            <a:r>
              <a:rPr lang="de-DE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736821" y="1843314"/>
            <a:ext cx="3451644" cy="20585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80975" indent="-180975"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Char char="n"/>
            </a:pPr>
            <a:r>
              <a:rPr lang="de-DE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4736821" y="4114801"/>
            <a:ext cx="3451644" cy="2095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80975" indent="-180975"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Char char="n"/>
            </a:pPr>
            <a:r>
              <a:rPr lang="de-DE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5" name="Rectangle 13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316686" y="1843314"/>
            <a:ext cx="3614057" cy="20585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80975" indent="-180975"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Char char="n"/>
            </a:pPr>
            <a:r>
              <a:rPr lang="de-DE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316686" y="4114801"/>
            <a:ext cx="3614057" cy="2095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80975" indent="-180975"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Char char="n"/>
            </a:pPr>
            <a:r>
              <a:rPr lang="de-DE" dirty="0">
                <a:solidFill>
                  <a:srgbClr val="000000"/>
                </a:solidFill>
              </a:rPr>
              <a:t>Text</a:t>
            </a: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17" name="Rectangle 13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266601" y="1843314"/>
                <a:ext cx="749645" cy="2058561"/>
              </a:xfrm>
              <a:prstGeom prst="rect">
                <a:avLst/>
              </a:prstGeom>
              <a:solidFill>
                <a:srgbClr val="89B7CE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72000" tIns="72000" rIns="72000" bIns="72000" anchor="ctr" anchorCtr="0">
                <a:noAutofit/>
              </a:bodyPr>
              <a:lstStyle/>
              <a:p>
                <a:pPr defTabSz="971550" eaLnBrk="0" fontAlgn="base" hangingPunct="0">
                  <a:spcBef>
                    <a:spcPts val="800"/>
                  </a:spcBef>
                  <a:spcAft>
                    <a:spcPct val="0"/>
                  </a:spcAft>
                  <a:buClr>
                    <a:srgbClr val="3C58A1"/>
                  </a:buClr>
                  <a:buSzPct val="8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600" b="1" i="1" smtClean="0">
                          <a:ln w="22225">
                            <a:solidFill>
                              <a:schemeClr val="accent6">
                                <a:lumMod val="75000"/>
                              </a:schemeClr>
                            </a:solidFill>
                            <a:prstDash val="solid"/>
                          </a:ln>
                          <a:solidFill>
                            <a:schemeClr val="accent6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de-DE" sz="6600" b="1" dirty="0">
                  <a:ln w="22225">
                    <a:solidFill>
                      <a:schemeClr val="accent6">
                        <a:lumMod val="75000"/>
                      </a:schemeClr>
                    </a:solidFill>
                    <a:prstDash val="solid"/>
                  </a:ln>
                  <a:solidFill>
                    <a:schemeClr val="accent6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mc:Choice>
        <mc:Fallback>
          <p:sp>
            <p:nvSpPr>
              <p:cNvPr id="17" name="Rectangle 13"/>
              <p:cNvSpPr>
                <a:spLocks noRot="1" noChangeAspect="1" noMove="1" noResize="1" noEditPoints="1" noAdjustHandles="1" noChangeArrowheads="1" noChangeShapeType="1" noTextEdit="1"/>
              </p:cNvSpPr>
              <p:nvPr userDrawn="1">
                <p:custDataLst>
                  <p:tags r:id="rId10"/>
                </p:custDataLst>
              </p:nvPr>
            </p:nvSpPr>
            <p:spPr bwMode="auto">
              <a:xfrm>
                <a:off x="266601" y="1843314"/>
                <a:ext cx="749645" cy="2058561"/>
              </a:xfrm>
              <a:prstGeom prst="rect">
                <a:avLst/>
              </a:prstGeom>
              <a:blipFill rotWithShape="0">
                <a:blip r:embed="rId14" cstate="print"/>
                <a:stretch>
                  <a:fillRect/>
                </a:stretch>
              </a:blip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xmlns="" Requires="a14">
          <p:sp>
            <p:nvSpPr>
              <p:cNvPr id="18" name="Rectangle 13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266601" y="4114801"/>
                <a:ext cx="749645" cy="2095500"/>
              </a:xfrm>
              <a:prstGeom prst="rect">
                <a:avLst/>
              </a:prstGeom>
              <a:solidFill>
                <a:srgbClr val="8EBFD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72000" tIns="72000" rIns="72000" bIns="72000" anchor="ctr" anchorCtr="0">
                <a:noAutofit/>
              </a:bodyPr>
              <a:lstStyle/>
              <a:p>
                <a:pPr defTabSz="971550" eaLnBrk="0" fontAlgn="base" hangingPunct="0">
                  <a:spcBef>
                    <a:spcPts val="800"/>
                  </a:spcBef>
                  <a:spcAft>
                    <a:spcPct val="0"/>
                  </a:spcAft>
                  <a:buClr>
                    <a:srgbClr val="3C58A1"/>
                  </a:buClr>
                  <a:buSzPct val="80000"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6000" i="1" smtClean="0">
                          <a:ln>
                            <a:solidFill>
                              <a:srgbClr val="C00000"/>
                            </a:solidFill>
                          </a:ln>
                          <a:solidFill>
                            <a:srgbClr val="FF0000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</a:rPr>
                        <m:t>−</m:t>
                      </m:r>
                    </m:oMath>
                  </m:oMathPara>
                </a14:m>
                <a:endParaRPr lang="de-DE" sz="6000" dirty="0">
                  <a:ln>
                    <a:solidFill>
                      <a:srgbClr val="C00000"/>
                    </a:solidFill>
                  </a:ln>
                  <a:solidFill>
                    <a:srgbClr val="FF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mc:Choice>
        <mc:Fallback>
          <p:sp>
            <p:nvSpPr>
              <p:cNvPr id="18" name="Rectangle 13"/>
              <p:cNvSpPr>
                <a:spLocks noRot="1" noChangeAspect="1" noMove="1" noResize="1" noEditPoints="1" noAdjustHandles="1" noChangeArrowheads="1" noChangeShapeType="1" noTextEdit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266601" y="4114801"/>
                <a:ext cx="749645" cy="2095500"/>
              </a:xfrm>
              <a:prstGeom prst="rect">
                <a:avLst/>
              </a:prstGeom>
              <a:blipFill rotWithShape="0">
                <a:blip r:embed="rId16" cstate="print"/>
                <a:stretch>
                  <a:fillRect/>
                </a:stretch>
              </a:blip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416729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őny-hátrány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  <p:grpSp>
        <p:nvGrpSpPr>
          <p:cNvPr id="19" name="Gruppieren 19"/>
          <p:cNvGrpSpPr/>
          <p:nvPr userDrawn="1">
            <p:custDataLst>
              <p:tags r:id="rId1"/>
            </p:custDataLst>
          </p:nvPr>
        </p:nvGrpSpPr>
        <p:grpSpPr>
          <a:xfrm>
            <a:off x="6330779" y="1958413"/>
            <a:ext cx="5612980" cy="4227513"/>
            <a:chOff x="5083175" y="1698625"/>
            <a:chExt cx="4176713" cy="4227513"/>
          </a:xfrm>
        </p:grpSpPr>
        <p:sp>
          <p:nvSpPr>
            <p:cNvPr id="20" name="Rechteck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083175" y="1698625"/>
              <a:ext cx="4176713" cy="364331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72000" tIns="72000" rIns="72000" bIns="72000" anchor="t" anchorCtr="0"/>
            <a:lstStyle/>
            <a:p>
              <a:pPr marL="180975" indent="-180975" defTabSz="971550" eaLnBrk="0" fontAlgn="base" hangingPunct="0">
                <a:spcBef>
                  <a:spcPts val="8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Char char="n"/>
              </a:pPr>
              <a:r>
                <a:rPr lang="de-DE" sz="2400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1" name="Oval 19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897688" y="5372100"/>
              <a:ext cx="555625" cy="55403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ts val="8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uppieren 26"/>
          <p:cNvGrpSpPr/>
          <p:nvPr userDrawn="1">
            <p:custDataLst>
              <p:tags r:id="rId2"/>
            </p:custDataLst>
          </p:nvPr>
        </p:nvGrpSpPr>
        <p:grpSpPr>
          <a:xfrm>
            <a:off x="330055" y="1326589"/>
            <a:ext cx="5615113" cy="4275137"/>
            <a:chOff x="647700" y="1760538"/>
            <a:chExt cx="4178300" cy="4275137"/>
          </a:xfrm>
        </p:grpSpPr>
        <p:sp>
          <p:nvSpPr>
            <p:cNvPr id="23" name="Rechteck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47700" y="2390775"/>
              <a:ext cx="4178300" cy="3644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72000" tIns="72000" rIns="72000" bIns="72000" anchor="t" anchorCtr="0"/>
            <a:lstStyle/>
            <a:p>
              <a:pPr marL="180975" indent="-180975" defTabSz="971550" eaLnBrk="0" fontAlgn="base" hangingPunct="0">
                <a:spcBef>
                  <a:spcPts val="8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Char char="n"/>
              </a:pPr>
              <a:r>
                <a:rPr lang="de-DE" sz="2400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4" name="Oval 19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439988" y="1760538"/>
              <a:ext cx="603250" cy="603250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ts val="8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5" name="Háromszög 24"/>
          <p:cNvSpPr/>
          <p:nvPr userDrawn="1"/>
        </p:nvSpPr>
        <p:spPr>
          <a:xfrm>
            <a:off x="330055" y="1058982"/>
            <a:ext cx="5615113" cy="899885"/>
          </a:xfrm>
          <a:prstGeom prst="triangle">
            <a:avLst/>
          </a:prstGeom>
          <a:solidFill>
            <a:srgbClr val="8EBF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</a:pPr>
            <a:endParaRPr lang="de-DE" sz="800" b="1" dirty="0">
              <a:ln w="22225">
                <a:solidFill>
                  <a:schemeClr val="accent6">
                    <a:lumMod val="75000"/>
                  </a:schemeClr>
                </a:solidFill>
                <a:prstDash val="solid"/>
              </a:ln>
              <a:solidFill>
                <a:schemeClr val="accent6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26" name="Szövegdoboz 25"/>
              <p:cNvSpPr txBox="1"/>
              <p:nvPr userDrawn="1"/>
            </p:nvSpPr>
            <p:spPr>
              <a:xfrm>
                <a:off x="2444380" y="972064"/>
                <a:ext cx="1413576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000" b="1" i="1">
                          <a:ln w="22225">
                            <a:solidFill>
                              <a:schemeClr val="accent6">
                                <a:lumMod val="75000"/>
                              </a:schemeClr>
                            </a:solidFill>
                            <a:prstDash val="solid"/>
                          </a:ln>
                          <a:solidFill>
                            <a:schemeClr val="accent6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de-DE" sz="6000" b="1" dirty="0">
                  <a:ln w="22225">
                    <a:solidFill>
                      <a:schemeClr val="accent6">
                        <a:lumMod val="75000"/>
                      </a:schemeClr>
                    </a:solidFill>
                    <a:prstDash val="solid"/>
                  </a:ln>
                  <a:solidFill>
                    <a:schemeClr val="accent6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mc:Choice>
        <mc:Fallback>
          <p:sp>
            <p:nvSpPr>
              <p:cNvPr id="3" name="Szövegdoboz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4380" y="972064"/>
                <a:ext cx="1413576" cy="1015663"/>
              </a:xfrm>
              <a:prstGeom prst="rect">
                <a:avLst/>
              </a:prstGeom>
              <a:blipFill rotWithShape="0">
                <a:blip r:embed="rId8" cstate="print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Háromszög 26"/>
          <p:cNvSpPr/>
          <p:nvPr userDrawn="1"/>
        </p:nvSpPr>
        <p:spPr>
          <a:xfrm rot="10800000">
            <a:off x="6328646" y="5602860"/>
            <a:ext cx="5615113" cy="899885"/>
          </a:xfrm>
          <a:prstGeom prst="triangle">
            <a:avLst/>
          </a:prstGeom>
          <a:solidFill>
            <a:srgbClr val="8EBF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71550" eaLnBrk="0" fontAlgn="base" hangingPunct="0">
              <a:spcBef>
                <a:spcPts val="800"/>
              </a:spcBef>
              <a:spcAft>
                <a:spcPct val="0"/>
              </a:spcAft>
              <a:buClr>
                <a:srgbClr val="3C58A1"/>
              </a:buClr>
              <a:buSzPct val="80000"/>
            </a:pPr>
            <a:endParaRPr lang="de-DE" sz="800" b="1" dirty="0">
              <a:ln w="22225">
                <a:solidFill>
                  <a:schemeClr val="accent6">
                    <a:lumMod val="75000"/>
                  </a:schemeClr>
                </a:solidFill>
                <a:prstDash val="solid"/>
              </a:ln>
              <a:solidFill>
                <a:schemeClr val="accent6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28" name="Szövegdoboz 27"/>
              <p:cNvSpPr txBox="1"/>
              <p:nvPr userDrawn="1"/>
            </p:nvSpPr>
            <p:spPr>
              <a:xfrm>
                <a:off x="8764773" y="5544971"/>
                <a:ext cx="742858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000" i="1">
                          <a:ln>
                            <a:solidFill>
                              <a:srgbClr val="C00000"/>
                            </a:solidFill>
                          </a:ln>
                          <a:solidFill>
                            <a:srgbClr val="FF0000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</a:rPr>
                        <m:t>−</m:t>
                      </m:r>
                    </m:oMath>
                  </m:oMathPara>
                </a14:m>
                <a:endParaRPr lang="de-DE" sz="6000" dirty="0">
                  <a:ln>
                    <a:solidFill>
                      <a:srgbClr val="C00000"/>
                    </a:solidFill>
                  </a:ln>
                  <a:solidFill>
                    <a:srgbClr val="FF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mc:Choice>
        <mc:Fallback>
          <p:sp>
            <p:nvSpPr>
              <p:cNvPr id="2" name="Szövegdoboz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64773" y="5544971"/>
                <a:ext cx="742858" cy="1015663"/>
              </a:xfrm>
              <a:prstGeom prst="rect">
                <a:avLst/>
              </a:prstGeom>
              <a:blipFill rotWithShape="0">
                <a:blip r:embed="rId9" cstate="print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1614755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5271380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692167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xmlns="" val="758028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4954049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330423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4238421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5944439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7992686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1139149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17943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1700567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3F4C9DA-E5D4-4030-8E3E-61706A229260}" type="datetimeFigureOut">
              <a:rPr lang="hu-HU" smtClean="0"/>
              <a:pPr/>
              <a:t>2014.10.28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385AC5-D975-427C-B37C-BC4FE3CEBD8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960351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6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xmlns="" val="3431965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lsorolá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graphicFrame>
        <p:nvGraphicFramePr>
          <p:cNvPr id="6" name="Tartalom helye 5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542695099"/>
              </p:ext>
            </p:extLst>
          </p:nvPr>
        </p:nvGraphicFramePr>
        <p:xfrm>
          <a:off x="299259" y="1064029"/>
          <a:ext cx="11571316" cy="51129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xmlns="" val="3729479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lsorolá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  <p:graphicFrame>
        <p:nvGraphicFramePr>
          <p:cNvPr id="8" name="Diagram 7"/>
          <p:cNvGraphicFramePr/>
          <p:nvPr userDrawn="1">
            <p:extLst>
              <p:ext uri="{D42A27DB-BD31-4B8C-83A1-F6EECF244321}">
                <p14:modId xmlns:p14="http://schemas.microsoft.com/office/powerpoint/2010/main" xmlns="" val="3090939632"/>
              </p:ext>
            </p:extLst>
          </p:nvPr>
        </p:nvGraphicFramePr>
        <p:xfrm>
          <a:off x="199505" y="719666"/>
          <a:ext cx="11737571" cy="5516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4123313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lsorolá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6" name="Lekerekített téglalap 5"/>
          <p:cNvSpPr/>
          <p:nvPr userDrawn="1"/>
        </p:nvSpPr>
        <p:spPr>
          <a:xfrm>
            <a:off x="624114" y="2873828"/>
            <a:ext cx="2987997" cy="1335314"/>
          </a:xfrm>
          <a:prstGeom prst="roundRect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9" name="Vonalas buborék 2 8"/>
          <p:cNvSpPr/>
          <p:nvPr userDrawn="1"/>
        </p:nvSpPr>
        <p:spPr>
          <a:xfrm>
            <a:off x="4816797" y="1346178"/>
            <a:ext cx="6286638" cy="464457"/>
          </a:xfrm>
          <a:prstGeom prst="borderCallout2">
            <a:avLst>
              <a:gd name="adj1" fmla="val 53125"/>
              <a:gd name="adj2" fmla="val 186"/>
              <a:gd name="adj3" fmla="val 53125"/>
              <a:gd name="adj4" fmla="val -11910"/>
              <a:gd name="adj5" fmla="val 468750"/>
              <a:gd name="adj6" fmla="val -18827"/>
            </a:avLst>
          </a:prstGeom>
          <a:solidFill>
            <a:srgbClr val="046081"/>
          </a:solidFill>
          <a:ln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0" name="Vonalas buborék 2 9"/>
          <p:cNvSpPr/>
          <p:nvPr userDrawn="1"/>
        </p:nvSpPr>
        <p:spPr>
          <a:xfrm>
            <a:off x="4816791" y="2139017"/>
            <a:ext cx="6286638" cy="464457"/>
          </a:xfrm>
          <a:prstGeom prst="borderCallout2">
            <a:avLst>
              <a:gd name="adj1" fmla="val 53125"/>
              <a:gd name="adj2" fmla="val 186"/>
              <a:gd name="adj3" fmla="val 53125"/>
              <a:gd name="adj4" fmla="val -10756"/>
              <a:gd name="adj5" fmla="val 300000"/>
              <a:gd name="adj6" fmla="val -18688"/>
            </a:avLst>
          </a:prstGeom>
          <a:solidFill>
            <a:srgbClr val="046081"/>
          </a:solidFill>
          <a:ln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1" name="Vonalas buborék 2 10"/>
          <p:cNvSpPr/>
          <p:nvPr userDrawn="1"/>
        </p:nvSpPr>
        <p:spPr>
          <a:xfrm>
            <a:off x="4816791" y="2953682"/>
            <a:ext cx="6286638" cy="464457"/>
          </a:xfrm>
          <a:prstGeom prst="borderCallout2">
            <a:avLst>
              <a:gd name="adj1" fmla="val 53125"/>
              <a:gd name="adj2" fmla="val 186"/>
              <a:gd name="adj3" fmla="val 53125"/>
              <a:gd name="adj4" fmla="val -11449"/>
              <a:gd name="adj5" fmla="val 121875"/>
              <a:gd name="adj6" fmla="val -18457"/>
            </a:avLst>
          </a:prstGeom>
          <a:solidFill>
            <a:srgbClr val="046081"/>
          </a:solidFill>
          <a:ln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2" name="Vonalas buborék 2 11"/>
          <p:cNvSpPr/>
          <p:nvPr userDrawn="1"/>
        </p:nvSpPr>
        <p:spPr>
          <a:xfrm>
            <a:off x="4816791" y="3762818"/>
            <a:ext cx="6286638" cy="464457"/>
          </a:xfrm>
          <a:prstGeom prst="borderCallout2">
            <a:avLst>
              <a:gd name="adj1" fmla="val 53125"/>
              <a:gd name="adj2" fmla="val 186"/>
              <a:gd name="adj3" fmla="val 53126"/>
              <a:gd name="adj4" fmla="val -10987"/>
              <a:gd name="adj5" fmla="val -46875"/>
              <a:gd name="adj6" fmla="val -18919"/>
            </a:avLst>
          </a:prstGeom>
          <a:solidFill>
            <a:srgbClr val="046081"/>
          </a:solidFill>
          <a:ln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3" name="Vonalas buborék 2 12"/>
          <p:cNvSpPr/>
          <p:nvPr userDrawn="1"/>
        </p:nvSpPr>
        <p:spPr>
          <a:xfrm>
            <a:off x="4816791" y="4539314"/>
            <a:ext cx="6286638" cy="464457"/>
          </a:xfrm>
          <a:prstGeom prst="borderCallout2">
            <a:avLst>
              <a:gd name="adj1" fmla="val 53125"/>
              <a:gd name="adj2" fmla="val 186"/>
              <a:gd name="adj3" fmla="val 53125"/>
              <a:gd name="adj4" fmla="val -11680"/>
              <a:gd name="adj5" fmla="val -209375"/>
              <a:gd name="adj6" fmla="val -18596"/>
            </a:avLst>
          </a:prstGeom>
          <a:solidFill>
            <a:srgbClr val="046081"/>
          </a:solidFill>
          <a:ln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4" name="Vonalas buborék 2 13"/>
          <p:cNvSpPr/>
          <p:nvPr userDrawn="1"/>
        </p:nvSpPr>
        <p:spPr>
          <a:xfrm>
            <a:off x="4816791" y="5341227"/>
            <a:ext cx="6286638" cy="464457"/>
          </a:xfrm>
          <a:prstGeom prst="borderCallout2">
            <a:avLst>
              <a:gd name="adj1" fmla="val 53125"/>
              <a:gd name="adj2" fmla="val 186"/>
              <a:gd name="adj3" fmla="val 53125"/>
              <a:gd name="adj4" fmla="val -11680"/>
              <a:gd name="adj5" fmla="val -384375"/>
              <a:gd name="adj6" fmla="val -18919"/>
            </a:avLst>
          </a:prstGeom>
          <a:solidFill>
            <a:srgbClr val="046081"/>
          </a:solidFill>
          <a:ln>
            <a:solidFill>
              <a:srgbClr val="0460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Szöveg</a:t>
            </a:r>
            <a:endParaRPr lang="hu-H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3751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yama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graphicFrame>
        <p:nvGraphicFramePr>
          <p:cNvPr id="15" name="Tartalom helye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251791005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27130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yama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graphicFrame>
        <p:nvGraphicFramePr>
          <p:cNvPr id="6" name="Tartalom helye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8321647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74072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rfolyama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BB7DD4-99AF-4159-B97B-F9F7FB45394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grpSp>
        <p:nvGrpSpPr>
          <p:cNvPr id="8" name="Csoportba foglalás 7"/>
          <p:cNvGrpSpPr/>
          <p:nvPr userDrawn="1"/>
        </p:nvGrpSpPr>
        <p:grpSpPr>
          <a:xfrm>
            <a:off x="2434446" y="1113124"/>
            <a:ext cx="7439221" cy="5147976"/>
            <a:chOff x="2376389" y="721238"/>
            <a:chExt cx="7439221" cy="5415522"/>
          </a:xfrm>
        </p:grpSpPr>
        <p:sp>
          <p:nvSpPr>
            <p:cNvPr id="9" name="Szabadkézi sokszög 8"/>
            <p:cNvSpPr/>
            <p:nvPr/>
          </p:nvSpPr>
          <p:spPr>
            <a:xfrm>
              <a:off x="4693046" y="721238"/>
              <a:ext cx="2805906" cy="1402953"/>
            </a:xfrm>
            <a:custGeom>
              <a:avLst/>
              <a:gdLst>
                <a:gd name="connsiteX0" fmla="*/ 0 w 2805906"/>
                <a:gd name="connsiteY0" fmla="*/ 140295 h 1402953"/>
                <a:gd name="connsiteX1" fmla="*/ 140295 w 2805906"/>
                <a:gd name="connsiteY1" fmla="*/ 0 h 1402953"/>
                <a:gd name="connsiteX2" fmla="*/ 2665611 w 2805906"/>
                <a:gd name="connsiteY2" fmla="*/ 0 h 1402953"/>
                <a:gd name="connsiteX3" fmla="*/ 2805906 w 2805906"/>
                <a:gd name="connsiteY3" fmla="*/ 140295 h 1402953"/>
                <a:gd name="connsiteX4" fmla="*/ 2805906 w 2805906"/>
                <a:gd name="connsiteY4" fmla="*/ 1262658 h 1402953"/>
                <a:gd name="connsiteX5" fmla="*/ 2665611 w 2805906"/>
                <a:gd name="connsiteY5" fmla="*/ 1402953 h 1402953"/>
                <a:gd name="connsiteX6" fmla="*/ 140295 w 2805906"/>
                <a:gd name="connsiteY6" fmla="*/ 1402953 h 1402953"/>
                <a:gd name="connsiteX7" fmla="*/ 0 w 2805906"/>
                <a:gd name="connsiteY7" fmla="*/ 1262658 h 1402953"/>
                <a:gd name="connsiteX8" fmla="*/ 0 w 2805906"/>
                <a:gd name="connsiteY8" fmla="*/ 140295 h 140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5906" h="1402953">
                  <a:moveTo>
                    <a:pt x="0" y="140295"/>
                  </a:moveTo>
                  <a:cubicBezTo>
                    <a:pt x="0" y="62812"/>
                    <a:pt x="62812" y="0"/>
                    <a:pt x="140295" y="0"/>
                  </a:cubicBezTo>
                  <a:lnTo>
                    <a:pt x="2665611" y="0"/>
                  </a:lnTo>
                  <a:cubicBezTo>
                    <a:pt x="2743094" y="0"/>
                    <a:pt x="2805906" y="62812"/>
                    <a:pt x="2805906" y="140295"/>
                  </a:cubicBezTo>
                  <a:lnTo>
                    <a:pt x="2805906" y="1262658"/>
                  </a:lnTo>
                  <a:cubicBezTo>
                    <a:pt x="2805906" y="1340141"/>
                    <a:pt x="2743094" y="1402953"/>
                    <a:pt x="2665611" y="1402953"/>
                  </a:cubicBezTo>
                  <a:lnTo>
                    <a:pt x="140295" y="1402953"/>
                  </a:lnTo>
                  <a:cubicBezTo>
                    <a:pt x="62812" y="1402953"/>
                    <a:pt x="0" y="1340141"/>
                    <a:pt x="0" y="1262658"/>
                  </a:cubicBezTo>
                  <a:lnTo>
                    <a:pt x="0" y="140295"/>
                  </a:lnTo>
                  <a:close/>
                </a:path>
              </a:pathLst>
            </a:custGeom>
            <a:solidFill>
              <a:srgbClr val="05678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2531" tIns="132531" rIns="132531" bIns="132531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0" name="Szabadkézi sokszög 9"/>
            <p:cNvSpPr/>
            <p:nvPr/>
          </p:nvSpPr>
          <p:spPr>
            <a:xfrm rot="3600000">
              <a:off x="6523365" y="3183482"/>
              <a:ext cx="1461927" cy="491033"/>
            </a:xfrm>
            <a:custGeom>
              <a:avLst/>
              <a:gdLst>
                <a:gd name="connsiteX0" fmla="*/ 0 w 1461927"/>
                <a:gd name="connsiteY0" fmla="*/ 245517 h 491033"/>
                <a:gd name="connsiteX1" fmla="*/ 245517 w 1461927"/>
                <a:gd name="connsiteY1" fmla="*/ 0 h 491033"/>
                <a:gd name="connsiteX2" fmla="*/ 245517 w 1461927"/>
                <a:gd name="connsiteY2" fmla="*/ 98207 h 491033"/>
                <a:gd name="connsiteX3" fmla="*/ 1216411 w 1461927"/>
                <a:gd name="connsiteY3" fmla="*/ 98207 h 491033"/>
                <a:gd name="connsiteX4" fmla="*/ 1216411 w 1461927"/>
                <a:gd name="connsiteY4" fmla="*/ 0 h 491033"/>
                <a:gd name="connsiteX5" fmla="*/ 1461927 w 1461927"/>
                <a:gd name="connsiteY5" fmla="*/ 245517 h 491033"/>
                <a:gd name="connsiteX6" fmla="*/ 1216411 w 1461927"/>
                <a:gd name="connsiteY6" fmla="*/ 491033 h 491033"/>
                <a:gd name="connsiteX7" fmla="*/ 1216411 w 1461927"/>
                <a:gd name="connsiteY7" fmla="*/ 392826 h 491033"/>
                <a:gd name="connsiteX8" fmla="*/ 245517 w 1461927"/>
                <a:gd name="connsiteY8" fmla="*/ 392826 h 491033"/>
                <a:gd name="connsiteX9" fmla="*/ 245517 w 1461927"/>
                <a:gd name="connsiteY9" fmla="*/ 491033 h 491033"/>
                <a:gd name="connsiteX10" fmla="*/ 0 w 1461927"/>
                <a:gd name="connsiteY10" fmla="*/ 245517 h 4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1927" h="491033">
                  <a:moveTo>
                    <a:pt x="0" y="245517"/>
                  </a:moveTo>
                  <a:lnTo>
                    <a:pt x="245517" y="0"/>
                  </a:lnTo>
                  <a:lnTo>
                    <a:pt x="245517" y="98207"/>
                  </a:lnTo>
                  <a:lnTo>
                    <a:pt x="1216411" y="98207"/>
                  </a:lnTo>
                  <a:lnTo>
                    <a:pt x="1216411" y="0"/>
                  </a:lnTo>
                  <a:lnTo>
                    <a:pt x="1461927" y="245517"/>
                  </a:lnTo>
                  <a:lnTo>
                    <a:pt x="1216411" y="491033"/>
                  </a:lnTo>
                  <a:lnTo>
                    <a:pt x="1216411" y="392826"/>
                  </a:lnTo>
                  <a:lnTo>
                    <a:pt x="245517" y="392826"/>
                  </a:lnTo>
                  <a:lnTo>
                    <a:pt x="245517" y="491033"/>
                  </a:lnTo>
                  <a:lnTo>
                    <a:pt x="0" y="24551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310" tIns="98206" rIns="147309" bIns="98207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u-HU" sz="2100" kern="1200"/>
            </a:p>
          </p:txBody>
        </p:sp>
        <p:sp>
          <p:nvSpPr>
            <p:cNvPr id="11" name="Szabadkézi sokszög 10"/>
            <p:cNvSpPr/>
            <p:nvPr/>
          </p:nvSpPr>
          <p:spPr>
            <a:xfrm>
              <a:off x="7009704" y="4733807"/>
              <a:ext cx="2805906" cy="1402953"/>
            </a:xfrm>
            <a:custGeom>
              <a:avLst/>
              <a:gdLst>
                <a:gd name="connsiteX0" fmla="*/ 0 w 2805906"/>
                <a:gd name="connsiteY0" fmla="*/ 140295 h 1402953"/>
                <a:gd name="connsiteX1" fmla="*/ 140295 w 2805906"/>
                <a:gd name="connsiteY1" fmla="*/ 0 h 1402953"/>
                <a:gd name="connsiteX2" fmla="*/ 2665611 w 2805906"/>
                <a:gd name="connsiteY2" fmla="*/ 0 h 1402953"/>
                <a:gd name="connsiteX3" fmla="*/ 2805906 w 2805906"/>
                <a:gd name="connsiteY3" fmla="*/ 140295 h 1402953"/>
                <a:gd name="connsiteX4" fmla="*/ 2805906 w 2805906"/>
                <a:gd name="connsiteY4" fmla="*/ 1262658 h 1402953"/>
                <a:gd name="connsiteX5" fmla="*/ 2665611 w 2805906"/>
                <a:gd name="connsiteY5" fmla="*/ 1402953 h 1402953"/>
                <a:gd name="connsiteX6" fmla="*/ 140295 w 2805906"/>
                <a:gd name="connsiteY6" fmla="*/ 1402953 h 1402953"/>
                <a:gd name="connsiteX7" fmla="*/ 0 w 2805906"/>
                <a:gd name="connsiteY7" fmla="*/ 1262658 h 1402953"/>
                <a:gd name="connsiteX8" fmla="*/ 0 w 2805906"/>
                <a:gd name="connsiteY8" fmla="*/ 140295 h 140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5906" h="1402953">
                  <a:moveTo>
                    <a:pt x="0" y="140295"/>
                  </a:moveTo>
                  <a:cubicBezTo>
                    <a:pt x="0" y="62812"/>
                    <a:pt x="62812" y="0"/>
                    <a:pt x="140295" y="0"/>
                  </a:cubicBezTo>
                  <a:lnTo>
                    <a:pt x="2665611" y="0"/>
                  </a:lnTo>
                  <a:cubicBezTo>
                    <a:pt x="2743094" y="0"/>
                    <a:pt x="2805906" y="62812"/>
                    <a:pt x="2805906" y="140295"/>
                  </a:cubicBezTo>
                  <a:lnTo>
                    <a:pt x="2805906" y="1262658"/>
                  </a:lnTo>
                  <a:cubicBezTo>
                    <a:pt x="2805906" y="1340141"/>
                    <a:pt x="2743094" y="1402953"/>
                    <a:pt x="2665611" y="1402953"/>
                  </a:cubicBezTo>
                  <a:lnTo>
                    <a:pt x="140295" y="1402953"/>
                  </a:lnTo>
                  <a:cubicBezTo>
                    <a:pt x="62812" y="1402953"/>
                    <a:pt x="0" y="1340141"/>
                    <a:pt x="0" y="1262658"/>
                  </a:cubicBezTo>
                  <a:lnTo>
                    <a:pt x="0" y="140295"/>
                  </a:lnTo>
                  <a:close/>
                </a:path>
              </a:pathLst>
            </a:custGeom>
            <a:solidFill>
              <a:srgbClr val="05678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2531" tIns="132531" rIns="132531" bIns="132531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Szabadkézi sokszög 11"/>
            <p:cNvSpPr/>
            <p:nvPr/>
          </p:nvSpPr>
          <p:spPr>
            <a:xfrm rot="21600000">
              <a:off x="5365036" y="5189766"/>
              <a:ext cx="1461927" cy="491034"/>
            </a:xfrm>
            <a:custGeom>
              <a:avLst/>
              <a:gdLst>
                <a:gd name="connsiteX0" fmla="*/ 0 w 1461927"/>
                <a:gd name="connsiteY0" fmla="*/ 245517 h 491033"/>
                <a:gd name="connsiteX1" fmla="*/ 245517 w 1461927"/>
                <a:gd name="connsiteY1" fmla="*/ 0 h 491033"/>
                <a:gd name="connsiteX2" fmla="*/ 245517 w 1461927"/>
                <a:gd name="connsiteY2" fmla="*/ 98207 h 491033"/>
                <a:gd name="connsiteX3" fmla="*/ 1216411 w 1461927"/>
                <a:gd name="connsiteY3" fmla="*/ 98207 h 491033"/>
                <a:gd name="connsiteX4" fmla="*/ 1216411 w 1461927"/>
                <a:gd name="connsiteY4" fmla="*/ 0 h 491033"/>
                <a:gd name="connsiteX5" fmla="*/ 1461927 w 1461927"/>
                <a:gd name="connsiteY5" fmla="*/ 245517 h 491033"/>
                <a:gd name="connsiteX6" fmla="*/ 1216411 w 1461927"/>
                <a:gd name="connsiteY6" fmla="*/ 491033 h 491033"/>
                <a:gd name="connsiteX7" fmla="*/ 1216411 w 1461927"/>
                <a:gd name="connsiteY7" fmla="*/ 392826 h 491033"/>
                <a:gd name="connsiteX8" fmla="*/ 245517 w 1461927"/>
                <a:gd name="connsiteY8" fmla="*/ 392826 h 491033"/>
                <a:gd name="connsiteX9" fmla="*/ 245517 w 1461927"/>
                <a:gd name="connsiteY9" fmla="*/ 491033 h 491033"/>
                <a:gd name="connsiteX10" fmla="*/ 0 w 1461927"/>
                <a:gd name="connsiteY10" fmla="*/ 245517 h 4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1927" h="491033">
                  <a:moveTo>
                    <a:pt x="1461927" y="245516"/>
                  </a:moveTo>
                  <a:lnTo>
                    <a:pt x="1216410" y="491032"/>
                  </a:lnTo>
                  <a:lnTo>
                    <a:pt x="1216410" y="392825"/>
                  </a:lnTo>
                  <a:lnTo>
                    <a:pt x="245516" y="392825"/>
                  </a:lnTo>
                  <a:lnTo>
                    <a:pt x="245516" y="491032"/>
                  </a:lnTo>
                  <a:lnTo>
                    <a:pt x="0" y="245516"/>
                  </a:lnTo>
                  <a:lnTo>
                    <a:pt x="245516" y="1"/>
                  </a:lnTo>
                  <a:lnTo>
                    <a:pt x="245516" y="98208"/>
                  </a:lnTo>
                  <a:lnTo>
                    <a:pt x="1216410" y="98208"/>
                  </a:lnTo>
                  <a:lnTo>
                    <a:pt x="1216410" y="1"/>
                  </a:lnTo>
                  <a:lnTo>
                    <a:pt x="1461927" y="24551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310" tIns="98208" rIns="147310" bIns="98207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u-HU" sz="2100" kern="1200"/>
            </a:p>
          </p:txBody>
        </p:sp>
        <p:sp>
          <p:nvSpPr>
            <p:cNvPr id="13" name="Szabadkézi sokszög 12"/>
            <p:cNvSpPr/>
            <p:nvPr/>
          </p:nvSpPr>
          <p:spPr>
            <a:xfrm>
              <a:off x="2376389" y="4733807"/>
              <a:ext cx="2805906" cy="1402953"/>
            </a:xfrm>
            <a:custGeom>
              <a:avLst/>
              <a:gdLst>
                <a:gd name="connsiteX0" fmla="*/ 0 w 2805906"/>
                <a:gd name="connsiteY0" fmla="*/ 140295 h 1402953"/>
                <a:gd name="connsiteX1" fmla="*/ 140295 w 2805906"/>
                <a:gd name="connsiteY1" fmla="*/ 0 h 1402953"/>
                <a:gd name="connsiteX2" fmla="*/ 2665611 w 2805906"/>
                <a:gd name="connsiteY2" fmla="*/ 0 h 1402953"/>
                <a:gd name="connsiteX3" fmla="*/ 2805906 w 2805906"/>
                <a:gd name="connsiteY3" fmla="*/ 140295 h 1402953"/>
                <a:gd name="connsiteX4" fmla="*/ 2805906 w 2805906"/>
                <a:gd name="connsiteY4" fmla="*/ 1262658 h 1402953"/>
                <a:gd name="connsiteX5" fmla="*/ 2665611 w 2805906"/>
                <a:gd name="connsiteY5" fmla="*/ 1402953 h 1402953"/>
                <a:gd name="connsiteX6" fmla="*/ 140295 w 2805906"/>
                <a:gd name="connsiteY6" fmla="*/ 1402953 h 1402953"/>
                <a:gd name="connsiteX7" fmla="*/ 0 w 2805906"/>
                <a:gd name="connsiteY7" fmla="*/ 1262658 h 1402953"/>
                <a:gd name="connsiteX8" fmla="*/ 0 w 2805906"/>
                <a:gd name="connsiteY8" fmla="*/ 140295 h 140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5906" h="1402953">
                  <a:moveTo>
                    <a:pt x="0" y="140295"/>
                  </a:moveTo>
                  <a:cubicBezTo>
                    <a:pt x="0" y="62812"/>
                    <a:pt x="62812" y="0"/>
                    <a:pt x="140295" y="0"/>
                  </a:cubicBezTo>
                  <a:lnTo>
                    <a:pt x="2665611" y="0"/>
                  </a:lnTo>
                  <a:cubicBezTo>
                    <a:pt x="2743094" y="0"/>
                    <a:pt x="2805906" y="62812"/>
                    <a:pt x="2805906" y="140295"/>
                  </a:cubicBezTo>
                  <a:lnTo>
                    <a:pt x="2805906" y="1262658"/>
                  </a:lnTo>
                  <a:cubicBezTo>
                    <a:pt x="2805906" y="1340141"/>
                    <a:pt x="2743094" y="1402953"/>
                    <a:pt x="2665611" y="1402953"/>
                  </a:cubicBezTo>
                  <a:lnTo>
                    <a:pt x="140295" y="1402953"/>
                  </a:lnTo>
                  <a:cubicBezTo>
                    <a:pt x="62812" y="1402953"/>
                    <a:pt x="0" y="1340141"/>
                    <a:pt x="0" y="1262658"/>
                  </a:cubicBezTo>
                  <a:lnTo>
                    <a:pt x="0" y="140295"/>
                  </a:lnTo>
                  <a:close/>
                </a:path>
              </a:pathLst>
            </a:custGeom>
            <a:solidFill>
              <a:srgbClr val="05678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2531" tIns="132531" rIns="132531" bIns="132531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400" kern="1200" dirty="0" smtClean="0">
                  <a:solidFill>
                    <a:schemeClr val="bg1"/>
                  </a:solidFill>
                </a:rPr>
                <a:t>Szöveg</a:t>
              </a:r>
              <a:endParaRPr lang="hu-HU" sz="24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4" name="Szabadkézi sokszög 13"/>
            <p:cNvSpPr/>
            <p:nvPr/>
          </p:nvSpPr>
          <p:spPr>
            <a:xfrm rot="18000000">
              <a:off x="4206707" y="3183482"/>
              <a:ext cx="1461927" cy="491033"/>
            </a:xfrm>
            <a:custGeom>
              <a:avLst/>
              <a:gdLst>
                <a:gd name="connsiteX0" fmla="*/ 0 w 1461927"/>
                <a:gd name="connsiteY0" fmla="*/ 245517 h 491033"/>
                <a:gd name="connsiteX1" fmla="*/ 245517 w 1461927"/>
                <a:gd name="connsiteY1" fmla="*/ 0 h 491033"/>
                <a:gd name="connsiteX2" fmla="*/ 245517 w 1461927"/>
                <a:gd name="connsiteY2" fmla="*/ 98207 h 491033"/>
                <a:gd name="connsiteX3" fmla="*/ 1216411 w 1461927"/>
                <a:gd name="connsiteY3" fmla="*/ 98207 h 491033"/>
                <a:gd name="connsiteX4" fmla="*/ 1216411 w 1461927"/>
                <a:gd name="connsiteY4" fmla="*/ 0 h 491033"/>
                <a:gd name="connsiteX5" fmla="*/ 1461927 w 1461927"/>
                <a:gd name="connsiteY5" fmla="*/ 245517 h 491033"/>
                <a:gd name="connsiteX6" fmla="*/ 1216411 w 1461927"/>
                <a:gd name="connsiteY6" fmla="*/ 491033 h 491033"/>
                <a:gd name="connsiteX7" fmla="*/ 1216411 w 1461927"/>
                <a:gd name="connsiteY7" fmla="*/ 392826 h 491033"/>
                <a:gd name="connsiteX8" fmla="*/ 245517 w 1461927"/>
                <a:gd name="connsiteY8" fmla="*/ 392826 h 491033"/>
                <a:gd name="connsiteX9" fmla="*/ 245517 w 1461927"/>
                <a:gd name="connsiteY9" fmla="*/ 491033 h 491033"/>
                <a:gd name="connsiteX10" fmla="*/ 0 w 1461927"/>
                <a:gd name="connsiteY10" fmla="*/ 245517 h 49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1927" h="491033">
                  <a:moveTo>
                    <a:pt x="0" y="245517"/>
                  </a:moveTo>
                  <a:lnTo>
                    <a:pt x="245517" y="0"/>
                  </a:lnTo>
                  <a:lnTo>
                    <a:pt x="245517" y="98207"/>
                  </a:lnTo>
                  <a:lnTo>
                    <a:pt x="1216411" y="98207"/>
                  </a:lnTo>
                  <a:lnTo>
                    <a:pt x="1216411" y="0"/>
                  </a:lnTo>
                  <a:lnTo>
                    <a:pt x="1461927" y="245517"/>
                  </a:lnTo>
                  <a:lnTo>
                    <a:pt x="1216411" y="491033"/>
                  </a:lnTo>
                  <a:lnTo>
                    <a:pt x="1216411" y="392826"/>
                  </a:lnTo>
                  <a:lnTo>
                    <a:pt x="245517" y="392826"/>
                  </a:lnTo>
                  <a:lnTo>
                    <a:pt x="245517" y="491033"/>
                  </a:lnTo>
                  <a:lnTo>
                    <a:pt x="0" y="24551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309" tIns="98207" rIns="147310" bIns="98206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u-HU" sz="2100" kern="1200"/>
            </a:p>
          </p:txBody>
        </p:sp>
      </p:grpSp>
    </p:spTree>
    <p:extLst>
      <p:ext uri="{BB962C8B-B14F-4D97-AF65-F5344CB8AC3E}">
        <p14:creationId xmlns:p14="http://schemas.microsoft.com/office/powerpoint/2010/main" xmlns="" val="690849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4549" y="6198465"/>
            <a:ext cx="1708389" cy="659535"/>
          </a:xfrm>
          <a:prstGeom prst="rect">
            <a:avLst/>
          </a:prstGeom>
        </p:spPr>
      </p:pic>
      <p:pic>
        <p:nvPicPr>
          <p:cNvPr id="10" name="Kép 9" descr="NFM_szines_logo_cmyk[1].png"/>
          <p:cNvPicPr>
            <a:picLocks noChangeAspect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3327" y="6299199"/>
            <a:ext cx="642937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Kép 24" descr="KIFU_kicsi.jpg"/>
          <p:cNvPicPr>
            <a:picLocks noChangeAspect="1"/>
          </p:cNvPicPr>
          <p:nvPr userDrawn="1"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-1" y="0"/>
            <a:ext cx="1115655" cy="70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ím 1"/>
          <p:cNvSpPr txBox="1">
            <a:spLocks/>
          </p:cNvSpPr>
          <p:nvPr userDrawn="1"/>
        </p:nvSpPr>
        <p:spPr>
          <a:xfrm>
            <a:off x="1115654" y="0"/>
            <a:ext cx="11076345" cy="718416"/>
          </a:xfrm>
          <a:prstGeom prst="rect">
            <a:avLst/>
          </a:prstGeom>
          <a:gradFill flip="none" rotWithShape="1">
            <a:gsLst>
              <a:gs pos="100000">
                <a:srgbClr val="244BAE"/>
              </a:gs>
              <a:gs pos="59500">
                <a:srgbClr val="4567BB"/>
              </a:gs>
              <a:gs pos="19000">
                <a:srgbClr val="7891CE"/>
              </a:gs>
              <a:gs pos="0">
                <a:schemeClr val="bg1"/>
              </a:gs>
            </a:gsLst>
            <a:lin ang="0" scaled="1"/>
            <a:tileRect/>
          </a:gradFill>
        </p:spPr>
        <p:txBody>
          <a:bodyPr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hu-HU" sz="3600" dirty="0">
              <a:solidFill>
                <a:schemeClr val="bg1"/>
              </a:solidFill>
            </a:endParaRPr>
          </a:p>
        </p:txBody>
      </p:sp>
      <p:pic>
        <p:nvPicPr>
          <p:cNvPr id="4" name="Kép 3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515600" y="6274262"/>
            <a:ext cx="1648304" cy="52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07941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44B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ép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47286" y="0"/>
            <a:ext cx="9144714" cy="6858000"/>
          </a:xfrm>
          <a:prstGeom prst="rect">
            <a:avLst/>
          </a:prstGeom>
        </p:spPr>
      </p:pic>
      <p:pic>
        <p:nvPicPr>
          <p:cNvPr id="2" name="Kép 1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8146972" y="4054643"/>
            <a:ext cx="4045028" cy="280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63959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3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 txBox="1">
            <a:spLocks/>
          </p:cNvSpPr>
          <p:nvPr/>
        </p:nvSpPr>
        <p:spPr>
          <a:xfrm>
            <a:off x="1524000" y="938807"/>
            <a:ext cx="9144000" cy="3592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sz="3200" b="1" i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Önkormányzati ASP központ felállítása </a:t>
            </a:r>
            <a:r>
              <a:rPr lang="hu-HU" sz="3200" b="1" i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kt összefoglaló</a:t>
            </a:r>
          </a:p>
          <a:p>
            <a:pPr algn="ctr"/>
            <a:endParaRPr lang="hu-HU" sz="32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hu-HU" sz="3200" b="1" i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KOP 3.1.6.</a:t>
            </a:r>
          </a:p>
          <a:p>
            <a:pPr algn="ctr"/>
            <a:endParaRPr lang="hu-HU" sz="3200" b="1" i="1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hu-HU" sz="3200" b="1" i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II. Országos </a:t>
            </a:r>
            <a:r>
              <a:rPr lang="hu-HU" sz="3200" b="1" i="1" kern="0" dirty="0" err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gyző-Közigazgatási</a:t>
            </a:r>
            <a:r>
              <a:rPr lang="hu-HU" sz="3200" b="1" i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Konferencia</a:t>
            </a:r>
            <a:endParaRPr lang="hu-HU" sz="3200" b="1" i="1" kern="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hu-HU" sz="32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hu-HU" sz="3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4.09.11.</a:t>
            </a:r>
            <a:endParaRPr lang="hu-HU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Alcím 2"/>
          <p:cNvSpPr txBox="1">
            <a:spLocks/>
          </p:cNvSpPr>
          <p:nvPr/>
        </p:nvSpPr>
        <p:spPr>
          <a:xfrm>
            <a:off x="1524000" y="3602038"/>
            <a:ext cx="9144000" cy="703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hu-HU" sz="2400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1" name="Csoportba foglalás 10"/>
          <p:cNvGrpSpPr/>
          <p:nvPr/>
        </p:nvGrpSpPr>
        <p:grpSpPr>
          <a:xfrm>
            <a:off x="-790274" y="-1806287"/>
            <a:ext cx="2532544" cy="3612571"/>
            <a:chOff x="-790274" y="-1806287"/>
            <a:chExt cx="2532544" cy="3612571"/>
          </a:xfrm>
        </p:grpSpPr>
        <p:sp>
          <p:nvSpPr>
            <p:cNvPr id="9" name="Körszelet 8"/>
            <p:cNvSpPr/>
            <p:nvPr/>
          </p:nvSpPr>
          <p:spPr>
            <a:xfrm rot="18812903">
              <a:off x="-1330288" y="-1266273"/>
              <a:ext cx="3612571" cy="2532544"/>
            </a:xfrm>
            <a:prstGeom prst="chord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  <p:pic>
          <p:nvPicPr>
            <p:cNvPr id="10" name="Kép 24" descr="KIFU_kicsi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01599" y="232225"/>
              <a:ext cx="1115655" cy="706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295577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SP projekt résztvevők áttekintése</a:t>
            </a:r>
            <a:endParaRPr lang="hu-HU" dirty="0"/>
          </a:p>
        </p:txBody>
      </p:sp>
      <p:sp>
        <p:nvSpPr>
          <p:cNvPr id="3" name="Szövegdoboz 2"/>
          <p:cNvSpPr txBox="1"/>
          <p:nvPr/>
        </p:nvSpPr>
        <p:spPr>
          <a:xfrm>
            <a:off x="4675494" y="4839819"/>
            <a:ext cx="11618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2400" b="1" dirty="0" smtClean="0"/>
          </a:p>
          <a:p>
            <a:endParaRPr lang="hu-HU" sz="2400" b="1" dirty="0" smtClean="0"/>
          </a:p>
        </p:txBody>
      </p:sp>
      <p:sp>
        <p:nvSpPr>
          <p:cNvPr id="4" name="Ellipszis buborék 3"/>
          <p:cNvSpPr/>
          <p:nvPr/>
        </p:nvSpPr>
        <p:spPr>
          <a:xfrm>
            <a:off x="2578455" y="1487786"/>
            <a:ext cx="1209774" cy="1014211"/>
          </a:xfrm>
          <a:prstGeom prst="wedgeEllipseCallout">
            <a:avLst>
              <a:gd name="adj1" fmla="val -92"/>
              <a:gd name="adj2" fmla="val 84405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350" b="1" dirty="0"/>
              <a:t>2,6 Mrd Ft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2398113" y="2909947"/>
            <a:ext cx="7625443" cy="184666"/>
          </a:xfrm>
          <a:prstGeom prst="rect">
            <a:avLst/>
          </a:prstGeom>
          <a:solidFill>
            <a:srgbClr val="046081"/>
          </a:solidFill>
        </p:spPr>
        <p:txBody>
          <a:bodyPr wrap="square" rtlCol="0">
            <a:spAutoFit/>
          </a:bodyPr>
          <a:lstStyle/>
          <a:p>
            <a:endParaRPr lang="hu-HU" sz="600" dirty="0">
              <a:solidFill>
                <a:schemeClr val="bg1"/>
              </a:solidFill>
            </a:endParaRP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1684" y="1487786"/>
            <a:ext cx="1209775" cy="959101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7962170" y="2574541"/>
            <a:ext cx="18288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350" b="1" dirty="0" smtClean="0"/>
              <a:t>2015.03.31</a:t>
            </a:r>
            <a:endParaRPr lang="hu-HU" sz="1350" b="1" dirty="0"/>
          </a:p>
        </p:txBody>
      </p:sp>
      <p:sp>
        <p:nvSpPr>
          <p:cNvPr id="8" name="Szövegdoboz 7"/>
          <p:cNvSpPr txBox="1"/>
          <p:nvPr/>
        </p:nvSpPr>
        <p:spPr>
          <a:xfrm>
            <a:off x="2134498" y="3447281"/>
            <a:ext cx="7920086" cy="2377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350" b="1" dirty="0"/>
              <a:t>Konzorcium: </a:t>
            </a:r>
            <a:r>
              <a:rPr lang="hu-HU" sz="1350" b="1" dirty="0" smtClean="0"/>
              <a:t>5 </a:t>
            </a:r>
            <a:r>
              <a:rPr lang="hu-HU" sz="1350" b="1" dirty="0"/>
              <a:t>tag </a:t>
            </a:r>
          </a:p>
          <a:p>
            <a:r>
              <a:rPr lang="hu-HU" sz="1350" dirty="0">
                <a:solidFill>
                  <a:schemeClr val="accent1">
                    <a:lumMod val="75000"/>
                  </a:schemeClr>
                </a:solidFill>
              </a:rPr>
              <a:t>   </a:t>
            </a:r>
            <a:r>
              <a:rPr lang="hu-HU" sz="1350" b="1" dirty="0">
                <a:solidFill>
                  <a:schemeClr val="accent1">
                    <a:lumMod val="75000"/>
                  </a:schemeClr>
                </a:solidFill>
              </a:rPr>
              <a:t>Projektgazda</a:t>
            </a:r>
            <a:r>
              <a:rPr lang="hu-HU" sz="135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endParaRPr lang="hu-HU" sz="1350" dirty="0"/>
          </a:p>
          <a:p>
            <a:endParaRPr lang="hu-HU" sz="1350" dirty="0"/>
          </a:p>
          <a:p>
            <a:endParaRPr lang="hu-HU" sz="1350" dirty="0"/>
          </a:p>
          <a:p>
            <a:endParaRPr lang="hu-HU" sz="1350" dirty="0"/>
          </a:p>
          <a:p>
            <a:r>
              <a:rPr lang="hu-HU" sz="1350" b="1" dirty="0"/>
              <a:t>Szakmai </a:t>
            </a:r>
            <a:r>
              <a:rPr lang="hu-HU" sz="1350" b="1" dirty="0" smtClean="0"/>
              <a:t>támogatók: 				            </a:t>
            </a:r>
          </a:p>
          <a:p>
            <a:endParaRPr lang="hu-HU" sz="1350" b="1" dirty="0"/>
          </a:p>
          <a:p>
            <a:endParaRPr lang="hu-HU" sz="1350" b="1" dirty="0" smtClean="0"/>
          </a:p>
          <a:p>
            <a:r>
              <a:rPr lang="hu-HU" sz="1350" b="1" dirty="0" smtClean="0"/>
              <a:t>Vállalkozók, Önkormányzatok </a:t>
            </a:r>
            <a:endParaRPr lang="hu-HU" sz="1350" b="1" dirty="0"/>
          </a:p>
          <a:p>
            <a:endParaRPr lang="hu-HU" sz="1350" dirty="0"/>
          </a:p>
        </p:txBody>
      </p:sp>
      <p:sp>
        <p:nvSpPr>
          <p:cNvPr id="9" name="Háromszög 8"/>
          <p:cNvSpPr/>
          <p:nvPr/>
        </p:nvSpPr>
        <p:spPr>
          <a:xfrm>
            <a:off x="5829833" y="3071530"/>
            <a:ext cx="762000" cy="375752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pic>
        <p:nvPicPr>
          <p:cNvPr id="10" name="Kép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47786" y="3539797"/>
            <a:ext cx="881903" cy="881903"/>
          </a:xfrm>
          <a:prstGeom prst="rect">
            <a:avLst/>
          </a:prstGeom>
        </p:spPr>
      </p:pic>
      <p:pic>
        <p:nvPicPr>
          <p:cNvPr id="11" name="Kép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41367" y="4015880"/>
            <a:ext cx="635894" cy="402300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98112" y="3596099"/>
            <a:ext cx="895486" cy="728345"/>
          </a:xfrm>
          <a:prstGeom prst="rect">
            <a:avLst/>
          </a:prstGeom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17508" y="3865525"/>
            <a:ext cx="1249256" cy="235928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40801" y="3848403"/>
            <a:ext cx="871538" cy="25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Kép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39236" y="4637872"/>
            <a:ext cx="706619" cy="544063"/>
          </a:xfrm>
          <a:prstGeom prst="rect">
            <a:avLst/>
          </a:prstGeom>
        </p:spPr>
      </p:pic>
      <p:sp>
        <p:nvSpPr>
          <p:cNvPr id="16" name="Folyamatábra: Befejezés 15"/>
          <p:cNvSpPr/>
          <p:nvPr/>
        </p:nvSpPr>
        <p:spPr>
          <a:xfrm>
            <a:off x="5119788" y="1771814"/>
            <a:ext cx="2006522" cy="1052147"/>
          </a:xfrm>
          <a:prstGeom prst="flowChartTerminator">
            <a:avLst/>
          </a:prstGeom>
          <a:blipFill>
            <a:blip r:embed="rId9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1350" b="1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KOP 3.1.6</a:t>
            </a:r>
            <a:r>
              <a:rPr lang="hu-HU" sz="1350" dirty="0">
                <a:solidFill>
                  <a:schemeClr val="tx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705082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KOP 3.1.6 projekt célok</a:t>
            </a:r>
            <a:endParaRPr lang="hu-HU" dirty="0"/>
          </a:p>
        </p:txBody>
      </p:sp>
      <p:sp>
        <p:nvSpPr>
          <p:cNvPr id="3" name="Lekerekített téglalap 2"/>
          <p:cNvSpPr/>
          <p:nvPr/>
        </p:nvSpPr>
        <p:spPr>
          <a:xfrm>
            <a:off x="1115655" y="1330074"/>
            <a:ext cx="10382662" cy="1623335"/>
          </a:xfrm>
          <a:prstGeom prst="roundRect">
            <a:avLst/>
          </a:prstGeom>
          <a:gradFill rotWithShape="0">
            <a:gsLst>
              <a:gs pos="91000">
                <a:srgbClr val="056786"/>
              </a:gs>
              <a:gs pos="11000">
                <a:srgbClr val="8EBFD1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" name="Szövegdoboz 3"/>
          <p:cNvSpPr txBox="1"/>
          <p:nvPr/>
        </p:nvSpPr>
        <p:spPr>
          <a:xfrm>
            <a:off x="1366345" y="1502983"/>
            <a:ext cx="100058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</a:rPr>
              <a:t>Egységes, korszerű, hatékony, költség-takarékos, önkormányzati belső működést, elektronikus ügyintézést biztosító rendszerek fejlesztése, </a:t>
            </a:r>
          </a:p>
          <a:p>
            <a:pPr algn="ctr"/>
            <a:r>
              <a:rPr lang="hu-HU" sz="2000" b="1" dirty="0">
                <a:solidFill>
                  <a:schemeClr val="bg1"/>
                </a:solidFill>
              </a:rPr>
              <a:t>ASP központ felépítése a közép-magyarországi </a:t>
            </a:r>
            <a:r>
              <a:rPr lang="hu-HU" sz="2000" b="1" dirty="0" smtClean="0">
                <a:solidFill>
                  <a:schemeClr val="bg1"/>
                </a:solidFill>
              </a:rPr>
              <a:t>régióban</a:t>
            </a:r>
          </a:p>
          <a:p>
            <a:pPr algn="ctr"/>
            <a:r>
              <a:rPr lang="hu-HU" sz="2000" b="1" dirty="0" smtClean="0">
                <a:solidFill>
                  <a:schemeClr val="bg1"/>
                </a:solidFill>
              </a:rPr>
              <a:t> </a:t>
            </a:r>
            <a:r>
              <a:rPr lang="hu-HU" sz="2000" b="1" dirty="0">
                <a:solidFill>
                  <a:schemeClr val="bg1"/>
                </a:solidFill>
              </a:rPr>
              <a:t>(majd ennek tapasztalatai alapján elterjesztése országosan).</a:t>
            </a:r>
          </a:p>
        </p:txBody>
      </p:sp>
      <p:sp>
        <p:nvSpPr>
          <p:cNvPr id="5" name="Lekerekített téglalap 4"/>
          <p:cNvSpPr/>
          <p:nvPr/>
        </p:nvSpPr>
        <p:spPr>
          <a:xfrm>
            <a:off x="1115655" y="3199887"/>
            <a:ext cx="10382662" cy="2602359"/>
          </a:xfrm>
          <a:prstGeom prst="roundRect">
            <a:avLst/>
          </a:prstGeom>
          <a:gradFill rotWithShape="0">
            <a:gsLst>
              <a:gs pos="91000">
                <a:srgbClr val="056786"/>
              </a:gs>
              <a:gs pos="11000">
                <a:srgbClr val="8EBFD1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Szövegdoboz 5"/>
          <p:cNvSpPr txBox="1"/>
          <p:nvPr/>
        </p:nvSpPr>
        <p:spPr>
          <a:xfrm>
            <a:off x="1366345" y="3247702"/>
            <a:ext cx="9848193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</a:rPr>
              <a:t>Az ASP szolgáltató központ keretrendszerén keresztül elérhető tervezett induló alkalmazások köre: </a:t>
            </a:r>
          </a:p>
          <a:p>
            <a:pPr algn="ctr">
              <a:spcBef>
                <a:spcPts val="600"/>
              </a:spcBef>
            </a:pPr>
            <a:r>
              <a:rPr lang="hu-HU" sz="2000" b="1" dirty="0">
                <a:solidFill>
                  <a:schemeClr val="bg1"/>
                </a:solidFill>
              </a:rPr>
              <a:t>   Gazdálkodási rendszer</a:t>
            </a:r>
          </a:p>
          <a:p>
            <a:pPr algn="ctr"/>
            <a:r>
              <a:rPr lang="hu-HU" sz="2000" b="1" dirty="0">
                <a:solidFill>
                  <a:schemeClr val="bg1"/>
                </a:solidFill>
              </a:rPr>
              <a:t>Ingatlanvagyon-kataszter rendszer</a:t>
            </a:r>
          </a:p>
          <a:p>
            <a:pPr algn="ctr"/>
            <a:r>
              <a:rPr lang="hu-HU" sz="2000" b="1" dirty="0">
                <a:solidFill>
                  <a:schemeClr val="bg1"/>
                </a:solidFill>
              </a:rPr>
              <a:t>Helyi adórendszer</a:t>
            </a:r>
          </a:p>
          <a:p>
            <a:pPr algn="ctr"/>
            <a:r>
              <a:rPr lang="hu-HU" sz="2000" b="1" dirty="0">
                <a:solidFill>
                  <a:schemeClr val="bg1"/>
                </a:solidFill>
              </a:rPr>
              <a:t>Iratkezelő rendszer</a:t>
            </a:r>
          </a:p>
          <a:p>
            <a:pPr algn="ctr"/>
            <a:r>
              <a:rPr lang="hu-HU" sz="2000" b="1" dirty="0">
                <a:solidFill>
                  <a:schemeClr val="bg1"/>
                </a:solidFill>
              </a:rPr>
              <a:t>Ipari és kereskedelmi </a:t>
            </a:r>
            <a:r>
              <a:rPr lang="hu-HU" sz="2000" b="1" dirty="0" smtClean="0">
                <a:solidFill>
                  <a:schemeClr val="bg1"/>
                </a:solidFill>
              </a:rPr>
              <a:t>rendszer</a:t>
            </a:r>
            <a:endParaRPr lang="hu-HU" sz="2000" b="1" dirty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hu-HU" sz="2000" b="1" dirty="0">
                <a:solidFill>
                  <a:schemeClr val="bg1"/>
                </a:solidFill>
              </a:rPr>
              <a:t>Önkormányzati portá</a:t>
            </a:r>
            <a:r>
              <a:rPr lang="hu-HU" sz="2000" b="1" u="sng" dirty="0">
                <a:solidFill>
                  <a:schemeClr val="bg1"/>
                </a:solidFill>
              </a:rPr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xmlns="" val="3101025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kt átfutási idő</a:t>
            </a:r>
            <a:endParaRPr lang="hu-HU" dirty="0"/>
          </a:p>
        </p:txBody>
      </p:sp>
      <p:sp>
        <p:nvSpPr>
          <p:cNvPr id="17" name="Jobbra nyíl 16"/>
          <p:cNvSpPr/>
          <p:nvPr/>
        </p:nvSpPr>
        <p:spPr>
          <a:xfrm>
            <a:off x="222959" y="2391164"/>
            <a:ext cx="11694016" cy="2494324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Szövegdoboz 17"/>
          <p:cNvSpPr txBox="1"/>
          <p:nvPr/>
        </p:nvSpPr>
        <p:spPr>
          <a:xfrm>
            <a:off x="222960" y="3222829"/>
            <a:ext cx="1855063" cy="830997"/>
          </a:xfrm>
          <a:prstGeom prst="rect">
            <a:avLst/>
          </a:prstGeom>
          <a:solidFill>
            <a:srgbClr val="04608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Előkészítés</a:t>
            </a:r>
          </a:p>
          <a:p>
            <a:pPr algn="ctr"/>
            <a:r>
              <a:rPr lang="hu-HU" sz="2400" dirty="0">
                <a:solidFill>
                  <a:schemeClr val="bg1"/>
                </a:solidFill>
              </a:rPr>
              <a:t>~</a:t>
            </a:r>
            <a:r>
              <a:rPr lang="hu-HU" sz="2400" dirty="0" smtClean="0">
                <a:solidFill>
                  <a:schemeClr val="bg1"/>
                </a:solidFill>
              </a:rPr>
              <a:t>12 hónap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9" name="Szövegdoboz 18"/>
          <p:cNvSpPr txBox="1"/>
          <p:nvPr/>
        </p:nvSpPr>
        <p:spPr>
          <a:xfrm>
            <a:off x="3933086" y="3222830"/>
            <a:ext cx="3668120" cy="830997"/>
          </a:xfrm>
          <a:prstGeom prst="rect">
            <a:avLst/>
          </a:prstGeom>
          <a:solidFill>
            <a:srgbClr val="04608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Közbeszerzés, megvalósítás</a:t>
            </a:r>
          </a:p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~28 hónap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0" name="Szövegdoboz 19"/>
          <p:cNvSpPr txBox="1"/>
          <p:nvPr/>
        </p:nvSpPr>
        <p:spPr>
          <a:xfrm>
            <a:off x="2078023" y="3222831"/>
            <a:ext cx="1855063" cy="830997"/>
          </a:xfrm>
          <a:prstGeom prst="rect">
            <a:avLst/>
          </a:prstGeom>
          <a:solidFill>
            <a:srgbClr val="04608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Pályázás</a:t>
            </a:r>
          </a:p>
          <a:p>
            <a:pPr algn="ctr"/>
            <a:r>
              <a:rPr lang="hu-HU" sz="2400" dirty="0" smtClean="0">
                <a:solidFill>
                  <a:schemeClr val="bg1"/>
                </a:solidFill>
              </a:rPr>
              <a:t>~6 hónap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7608208" y="3222828"/>
            <a:ext cx="3872592" cy="830997"/>
          </a:xfrm>
          <a:prstGeom prst="rect">
            <a:avLst/>
          </a:prstGeom>
          <a:solidFill>
            <a:srgbClr val="8EBFD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/>
              <a:t>Fenntartás</a:t>
            </a:r>
          </a:p>
          <a:p>
            <a:pPr algn="ctr"/>
            <a:r>
              <a:rPr lang="hu-HU" sz="2400" dirty="0" smtClean="0"/>
              <a:t>60 hónap</a:t>
            </a:r>
            <a:endParaRPr lang="hu-HU" sz="2400" dirty="0"/>
          </a:p>
        </p:txBody>
      </p:sp>
      <p:sp>
        <p:nvSpPr>
          <p:cNvPr id="22" name="Háromszög 21"/>
          <p:cNvSpPr/>
          <p:nvPr/>
        </p:nvSpPr>
        <p:spPr>
          <a:xfrm rot="10800000">
            <a:off x="253027" y="2888675"/>
            <a:ext cx="304800" cy="261583"/>
          </a:xfrm>
          <a:prstGeom prst="triangle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Háromszög 22"/>
          <p:cNvSpPr/>
          <p:nvPr/>
        </p:nvSpPr>
        <p:spPr>
          <a:xfrm rot="10800000">
            <a:off x="1935104" y="2946642"/>
            <a:ext cx="304800" cy="261583"/>
          </a:xfrm>
          <a:prstGeom prst="triangle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Háromszög 23"/>
          <p:cNvSpPr/>
          <p:nvPr/>
        </p:nvSpPr>
        <p:spPr>
          <a:xfrm rot="10800000">
            <a:off x="3788741" y="2939798"/>
            <a:ext cx="304800" cy="261583"/>
          </a:xfrm>
          <a:prstGeom prst="triangle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5" name="Háromszög 24"/>
          <p:cNvSpPr/>
          <p:nvPr/>
        </p:nvSpPr>
        <p:spPr>
          <a:xfrm rot="10800000">
            <a:off x="5647275" y="2946311"/>
            <a:ext cx="304800" cy="261583"/>
          </a:xfrm>
          <a:prstGeom prst="triangle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Háromszög 25"/>
          <p:cNvSpPr/>
          <p:nvPr/>
        </p:nvSpPr>
        <p:spPr>
          <a:xfrm rot="10800000">
            <a:off x="7463829" y="2946311"/>
            <a:ext cx="304800" cy="261583"/>
          </a:xfrm>
          <a:prstGeom prst="triangle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Háromszög 26"/>
          <p:cNvSpPr/>
          <p:nvPr/>
        </p:nvSpPr>
        <p:spPr>
          <a:xfrm rot="10800000">
            <a:off x="11123928" y="2961244"/>
            <a:ext cx="304800" cy="261583"/>
          </a:xfrm>
          <a:prstGeom prst="triangle">
            <a:avLst/>
          </a:prstGeom>
          <a:solidFill>
            <a:srgbClr val="8EBF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8" name="Szövegdoboz 27"/>
          <p:cNvSpPr txBox="1"/>
          <p:nvPr/>
        </p:nvSpPr>
        <p:spPr>
          <a:xfrm rot="16200000">
            <a:off x="-178250" y="1506461"/>
            <a:ext cx="17828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Akcióterv </a:t>
            </a:r>
          </a:p>
          <a:p>
            <a:r>
              <a:rPr lang="hu-HU" sz="2400" dirty="0" smtClean="0"/>
              <a:t>2011. július</a:t>
            </a:r>
            <a:endParaRPr lang="hu-HU" sz="2400" dirty="0"/>
          </a:p>
        </p:txBody>
      </p:sp>
      <p:sp>
        <p:nvSpPr>
          <p:cNvPr id="29" name="Szövegdoboz 28"/>
          <p:cNvSpPr txBox="1"/>
          <p:nvPr/>
        </p:nvSpPr>
        <p:spPr>
          <a:xfrm rot="16200000">
            <a:off x="3022144" y="1544096"/>
            <a:ext cx="18581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TSZ 2012. november</a:t>
            </a:r>
            <a:endParaRPr lang="hu-HU" sz="2400" dirty="0"/>
          </a:p>
        </p:txBody>
      </p:sp>
      <p:sp>
        <p:nvSpPr>
          <p:cNvPr id="30" name="Szövegdoboz 29"/>
          <p:cNvSpPr txBox="1"/>
          <p:nvPr/>
        </p:nvSpPr>
        <p:spPr>
          <a:xfrm rot="16200000">
            <a:off x="4964937" y="1638439"/>
            <a:ext cx="16694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VSZ - több ütemben</a:t>
            </a:r>
            <a:endParaRPr lang="hu-HU" sz="2400" dirty="0"/>
          </a:p>
        </p:txBody>
      </p:sp>
      <p:sp>
        <p:nvSpPr>
          <p:cNvPr id="31" name="Szövegdoboz 30"/>
          <p:cNvSpPr txBox="1"/>
          <p:nvPr/>
        </p:nvSpPr>
        <p:spPr>
          <a:xfrm rot="16200000">
            <a:off x="6687149" y="1544096"/>
            <a:ext cx="18581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Projekt zárás </a:t>
            </a:r>
            <a:r>
              <a:rPr lang="hu-HU" sz="2400" dirty="0" smtClean="0">
                <a:solidFill>
                  <a:srgbClr val="FF0000"/>
                </a:solidFill>
              </a:rPr>
              <a:t>2015.03.31</a:t>
            </a:r>
            <a:endParaRPr lang="hu-HU" sz="2400" dirty="0">
              <a:solidFill>
                <a:srgbClr val="FF0000"/>
              </a:solidFill>
            </a:endParaRPr>
          </a:p>
        </p:txBody>
      </p:sp>
      <p:sp>
        <p:nvSpPr>
          <p:cNvPr id="32" name="Szövegdoboz 31"/>
          <p:cNvSpPr txBox="1"/>
          <p:nvPr/>
        </p:nvSpPr>
        <p:spPr>
          <a:xfrm rot="16200000">
            <a:off x="9814478" y="1293074"/>
            <a:ext cx="18275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Fenntartási időszak</a:t>
            </a:r>
            <a:endParaRPr lang="hu-HU" sz="2400" dirty="0"/>
          </a:p>
          <a:p>
            <a:r>
              <a:rPr lang="hu-HU" sz="2400" dirty="0" smtClean="0"/>
              <a:t>2020.03.31</a:t>
            </a:r>
            <a:endParaRPr lang="hu-HU" sz="2400" dirty="0"/>
          </a:p>
        </p:txBody>
      </p:sp>
      <p:sp>
        <p:nvSpPr>
          <p:cNvPr id="33" name="Szövegdoboz 32"/>
          <p:cNvSpPr txBox="1"/>
          <p:nvPr/>
        </p:nvSpPr>
        <p:spPr>
          <a:xfrm rot="16200000">
            <a:off x="1160887" y="1569194"/>
            <a:ext cx="19083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RMT, pályázat </a:t>
            </a:r>
          </a:p>
          <a:p>
            <a:r>
              <a:rPr lang="hu-HU" sz="2400" dirty="0" smtClean="0"/>
              <a:t>2012. június</a:t>
            </a:r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xmlns="" val="29286104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24" descr="KIFU_kicsi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834"/>
            <a:ext cx="1115655" cy="70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8" name="Csoportba foglalás 27"/>
          <p:cNvGrpSpPr/>
          <p:nvPr/>
        </p:nvGrpSpPr>
        <p:grpSpPr>
          <a:xfrm>
            <a:off x="643677" y="1073958"/>
            <a:ext cx="5570612" cy="3561141"/>
            <a:chOff x="802516" y="1075410"/>
            <a:chExt cx="5474023" cy="3863089"/>
          </a:xfrm>
        </p:grpSpPr>
        <p:sp>
          <p:nvSpPr>
            <p:cNvPr id="29" name="Alak 28"/>
            <p:cNvSpPr/>
            <p:nvPr/>
          </p:nvSpPr>
          <p:spPr>
            <a:xfrm rot="4249129">
              <a:off x="3225587" y="1887547"/>
              <a:ext cx="3701509" cy="2400395"/>
            </a:xfrm>
            <a:prstGeom prst="swooshArrow">
              <a:avLst>
                <a:gd name="adj1" fmla="val 27977"/>
                <a:gd name="adj2" fmla="val 313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Szabadkézi sokszög 36"/>
            <p:cNvSpPr/>
            <p:nvPr/>
          </p:nvSpPr>
          <p:spPr>
            <a:xfrm>
              <a:off x="802516" y="1075410"/>
              <a:ext cx="4145463" cy="866986"/>
            </a:xfrm>
            <a:custGeom>
              <a:avLst/>
              <a:gdLst>
                <a:gd name="connsiteX0" fmla="*/ 0 w 2980266"/>
                <a:gd name="connsiteY0" fmla="*/ 0 h 866986"/>
                <a:gd name="connsiteX1" fmla="*/ 2980266 w 2980266"/>
                <a:gd name="connsiteY1" fmla="*/ 0 h 866986"/>
                <a:gd name="connsiteX2" fmla="*/ 2980266 w 2980266"/>
                <a:gd name="connsiteY2" fmla="*/ 866986 h 866986"/>
                <a:gd name="connsiteX3" fmla="*/ 0 w 2980266"/>
                <a:gd name="connsiteY3" fmla="*/ 866986 h 866986"/>
                <a:gd name="connsiteX4" fmla="*/ 0 w 2980266"/>
                <a:gd name="connsiteY4" fmla="*/ 0 h 866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0266" h="866986">
                  <a:moveTo>
                    <a:pt x="0" y="0"/>
                  </a:moveTo>
                  <a:lnTo>
                    <a:pt x="2980266" y="0"/>
                  </a:lnTo>
                  <a:lnTo>
                    <a:pt x="2980266" y="866986"/>
                  </a:lnTo>
                  <a:lnTo>
                    <a:pt x="0" y="86698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6040" tIns="66040" rIns="66040" bIns="66040" numCol="1" spcCol="1270" anchor="t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3200" kern="1200" dirty="0" smtClean="0">
                  <a:solidFill>
                    <a:schemeClr val="accent5"/>
                  </a:solidFill>
                </a:rPr>
                <a:t>EKOP 3.1.6 pénzügyi forrás (2,6 Mrd)</a:t>
              </a:r>
              <a:endParaRPr lang="hu-HU" sz="3200" kern="1200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38" name="Csoportba foglalás 37"/>
          <p:cNvGrpSpPr/>
          <p:nvPr/>
        </p:nvGrpSpPr>
        <p:grpSpPr>
          <a:xfrm>
            <a:off x="7165076" y="1240284"/>
            <a:ext cx="4805579" cy="3794471"/>
            <a:chOff x="2979761" y="235308"/>
            <a:chExt cx="4722254" cy="4116203"/>
          </a:xfrm>
        </p:grpSpPr>
        <p:sp>
          <p:nvSpPr>
            <p:cNvPr id="39" name="Alak 38"/>
            <p:cNvSpPr/>
            <p:nvPr/>
          </p:nvSpPr>
          <p:spPr>
            <a:xfrm rot="10265882">
              <a:off x="3268206" y="2115260"/>
              <a:ext cx="2526988" cy="2236251"/>
            </a:xfrm>
            <a:prstGeom prst="swooshArrow">
              <a:avLst>
                <a:gd name="adj1" fmla="val 16310"/>
                <a:gd name="adj2" fmla="val 313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Szabadkézi sokszög 39"/>
            <p:cNvSpPr/>
            <p:nvPr/>
          </p:nvSpPr>
          <p:spPr>
            <a:xfrm>
              <a:off x="2979761" y="235308"/>
              <a:ext cx="4722254" cy="1426570"/>
            </a:xfrm>
            <a:custGeom>
              <a:avLst/>
              <a:gdLst>
                <a:gd name="connsiteX0" fmla="*/ 0 w 2980266"/>
                <a:gd name="connsiteY0" fmla="*/ 0 h 866986"/>
                <a:gd name="connsiteX1" fmla="*/ 2980266 w 2980266"/>
                <a:gd name="connsiteY1" fmla="*/ 0 h 866986"/>
                <a:gd name="connsiteX2" fmla="*/ 2980266 w 2980266"/>
                <a:gd name="connsiteY2" fmla="*/ 866986 h 866986"/>
                <a:gd name="connsiteX3" fmla="*/ 0 w 2980266"/>
                <a:gd name="connsiteY3" fmla="*/ 866986 h 866986"/>
                <a:gd name="connsiteX4" fmla="*/ 0 w 2980266"/>
                <a:gd name="connsiteY4" fmla="*/ 0 h 866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0266" h="866986">
                  <a:moveTo>
                    <a:pt x="0" y="0"/>
                  </a:moveTo>
                  <a:lnTo>
                    <a:pt x="2980266" y="0"/>
                  </a:lnTo>
                  <a:lnTo>
                    <a:pt x="2980266" y="866986"/>
                  </a:lnTo>
                  <a:lnTo>
                    <a:pt x="0" y="86698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6040" tIns="66040" rIns="66040" bIns="66040" numCol="1" spcCol="1270" anchor="t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3200" dirty="0" smtClean="0">
                  <a:solidFill>
                    <a:schemeClr val="accent5"/>
                  </a:solidFill>
                </a:rPr>
                <a:t>KMOP 4.7.1 </a:t>
              </a:r>
              <a:r>
                <a:rPr lang="hu-HU" sz="3200" kern="1200" dirty="0" smtClean="0">
                  <a:solidFill>
                    <a:schemeClr val="accent5"/>
                  </a:solidFill>
                </a:rPr>
                <a:t>pénzügyi forrás (</a:t>
              </a:r>
              <a:r>
                <a:rPr lang="hu-HU" sz="3200" dirty="0" smtClean="0">
                  <a:solidFill>
                    <a:schemeClr val="accent5"/>
                  </a:solidFill>
                </a:rPr>
                <a:t>500 </a:t>
              </a:r>
              <a:r>
                <a:rPr lang="hu-HU" sz="3200" dirty="0" err="1" smtClean="0">
                  <a:solidFill>
                    <a:schemeClr val="accent5"/>
                  </a:solidFill>
                </a:rPr>
                <a:t>MFt</a:t>
              </a:r>
              <a:r>
                <a:rPr lang="hu-HU" sz="3200" dirty="0" smtClean="0">
                  <a:solidFill>
                    <a:schemeClr val="accent5"/>
                  </a:solidFill>
                </a:rPr>
                <a:t> 55 település</a:t>
              </a:r>
              <a:r>
                <a:rPr lang="hu-HU" sz="3200" kern="1200" dirty="0" smtClean="0">
                  <a:solidFill>
                    <a:schemeClr val="accent5"/>
                  </a:solidFill>
                </a:rPr>
                <a:t>)</a:t>
              </a:r>
              <a:endParaRPr lang="hu-HU" sz="3200" kern="120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41" name="Szövegdoboz 40"/>
          <p:cNvSpPr txBox="1"/>
          <p:nvPr/>
        </p:nvSpPr>
        <p:spPr>
          <a:xfrm>
            <a:off x="4992914" y="4403066"/>
            <a:ext cx="2510973" cy="1015663"/>
          </a:xfrm>
          <a:prstGeom prst="rect">
            <a:avLst/>
          </a:prstGeom>
          <a:solidFill>
            <a:srgbClr val="244BAE"/>
          </a:solidFill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hu-HU" sz="2800" dirty="0" smtClean="0">
                <a:solidFill>
                  <a:schemeClr val="bg1"/>
                </a:solidFill>
              </a:rPr>
              <a:t>Önkormányzati </a:t>
            </a:r>
            <a:r>
              <a:rPr lang="hu-HU" sz="3200" dirty="0" smtClean="0">
                <a:solidFill>
                  <a:schemeClr val="bg1"/>
                </a:solidFill>
              </a:rPr>
              <a:t>ASP </a:t>
            </a:r>
            <a:endParaRPr lang="hu-HU" sz="3200" dirty="0">
              <a:solidFill>
                <a:schemeClr val="bg1"/>
              </a:solidFill>
            </a:endParaRPr>
          </a:p>
        </p:txBody>
      </p:sp>
      <p:pic>
        <p:nvPicPr>
          <p:cNvPr id="42" name="Kép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06973" y="3093397"/>
            <a:ext cx="771060" cy="771060"/>
          </a:xfrm>
          <a:prstGeom prst="rect">
            <a:avLst/>
          </a:prstGeom>
        </p:spPr>
      </p:pic>
      <p:pic>
        <p:nvPicPr>
          <p:cNvPr id="43" name="Kép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49145" y="2348945"/>
            <a:ext cx="411685" cy="411685"/>
          </a:xfrm>
          <a:prstGeom prst="rect">
            <a:avLst/>
          </a:prstGeom>
        </p:spPr>
      </p:pic>
      <p:pic>
        <p:nvPicPr>
          <p:cNvPr id="44" name="Kép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97854" y="1982632"/>
            <a:ext cx="572155" cy="572155"/>
          </a:xfrm>
          <a:prstGeom prst="rect">
            <a:avLst/>
          </a:prstGeom>
        </p:spPr>
      </p:pic>
      <p:pic>
        <p:nvPicPr>
          <p:cNvPr id="45" name="Kép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38628" y="1628774"/>
            <a:ext cx="244404" cy="244404"/>
          </a:xfrm>
          <a:prstGeom prst="rect">
            <a:avLst/>
          </a:prstGeom>
        </p:spPr>
      </p:pic>
      <p:sp>
        <p:nvSpPr>
          <p:cNvPr id="17" name="Cím 7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</p:spPr>
        <p:txBody>
          <a:bodyPr/>
          <a:lstStyle/>
          <a:p>
            <a:r>
              <a:rPr lang="hu-HU" dirty="0" smtClean="0"/>
              <a:t>Finanszírozási források</a:t>
            </a:r>
            <a:endParaRPr lang="hu-HU" dirty="0"/>
          </a:p>
        </p:txBody>
      </p:sp>
      <p:pic>
        <p:nvPicPr>
          <p:cNvPr id="18" name="Kép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957862" y="2971195"/>
            <a:ext cx="244404" cy="244404"/>
          </a:xfrm>
          <a:prstGeom prst="rect">
            <a:avLst/>
          </a:prstGeom>
        </p:spPr>
      </p:pic>
      <p:pic>
        <p:nvPicPr>
          <p:cNvPr id="19" name="Kép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50324" y="3431870"/>
            <a:ext cx="572155" cy="572155"/>
          </a:xfrm>
          <a:prstGeom prst="rect">
            <a:avLst/>
          </a:prstGeom>
        </p:spPr>
      </p:pic>
      <p:pic>
        <p:nvPicPr>
          <p:cNvPr id="20" name="Kép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62515" y="3452772"/>
            <a:ext cx="411685" cy="411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75962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rtalom helye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491112270"/>
              </p:ext>
            </p:extLst>
          </p:nvPr>
        </p:nvGraphicFramePr>
        <p:xfrm>
          <a:off x="299259" y="1064029"/>
          <a:ext cx="11571316" cy="51129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Kép 24" descr="KIFU_kicsi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1834"/>
            <a:ext cx="1115655" cy="70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ím 7"/>
          <p:cNvSpPr>
            <a:spLocks noGrp="1"/>
          </p:cNvSpPr>
          <p:nvPr>
            <p:ph type="title"/>
          </p:nvPr>
        </p:nvSpPr>
        <p:spPr>
          <a:xfrm>
            <a:off x="1371600" y="0"/>
            <a:ext cx="10820400" cy="701675"/>
          </a:xfrm>
        </p:spPr>
        <p:txBody>
          <a:bodyPr/>
          <a:lstStyle/>
          <a:p>
            <a:r>
              <a:rPr lang="hu-HU" dirty="0" smtClean="0"/>
              <a:t>ASP </a:t>
            </a:r>
            <a:r>
              <a:rPr lang="hu-HU" dirty="0"/>
              <a:t>központ előnyei az önkormányzatok </a:t>
            </a:r>
            <a:r>
              <a:rPr lang="hu-HU" dirty="0" smtClean="0"/>
              <a:t>részér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xmlns="" val="959484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hu-HU" dirty="0" smtClean="0"/>
              <a:t> </a:t>
            </a:r>
            <a:endParaRPr lang="hu-HU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kt főbb szakaszai</a:t>
            </a:r>
            <a:endParaRPr lang="hu-HU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3038369634"/>
              </p:ext>
            </p:extLst>
          </p:nvPr>
        </p:nvGraphicFramePr>
        <p:xfrm>
          <a:off x="1912708" y="851938"/>
          <a:ext cx="8280920" cy="4982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9859616" y="1232454"/>
            <a:ext cx="163001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b="1" u="sng" dirty="0" smtClean="0"/>
              <a:t>2015.04.01 </a:t>
            </a:r>
            <a:r>
              <a:rPr lang="hu-HU" sz="1400" b="1" u="sng" dirty="0"/>
              <a:t>– </a:t>
            </a:r>
            <a:r>
              <a:rPr lang="hu-HU" sz="1400" b="1" u="sng" dirty="0" err="1" smtClean="0"/>
              <a:t>től</a:t>
            </a:r>
            <a:endParaRPr lang="hu-HU" sz="1400" b="1" u="sng" dirty="0"/>
          </a:p>
          <a:p>
            <a:r>
              <a:rPr lang="hu-HU" sz="1400" b="1" dirty="0"/>
              <a:t>Fenntartási időszak – további </a:t>
            </a:r>
            <a:r>
              <a:rPr lang="hu-HU" sz="1400" b="1" dirty="0" smtClean="0"/>
              <a:t>csatlakozók </a:t>
            </a:r>
            <a:endParaRPr lang="hu-HU" sz="1400" b="1" dirty="0"/>
          </a:p>
        </p:txBody>
      </p:sp>
    </p:spTree>
    <p:extLst>
      <p:ext uri="{BB962C8B-B14F-4D97-AF65-F5344CB8AC3E}">
        <p14:creationId xmlns:p14="http://schemas.microsoft.com/office/powerpoint/2010/main" xmlns="" val="937733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f7LUODsUC69q82eC0V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aNTpuHbUe6VxEnC1SF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xY16.1ki_MiC0QXqE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xY16.1ki_MiC0QXqE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O31Tc2bUyV2FrHyFxX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oiXNMkGkSmJS5_XRKy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FyTsT1_kyGcPap3jPR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k6S2dQ0EEukJupSIVYx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Iw87OKH0.EY_yIRkoo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qPRgR5.3EiKoIGzOJXZ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czz_aYEm7dYwKD4R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rt3dhsy0muhshDUFNq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YZuxG4W0mvzEeABJFR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xY16.1ki_MiC0QXqE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j.N14dPkCKPJfpo762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el8BNu0UCLU7BUcvYr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kBGu0510CWehNHgClp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GCwHO3lE..Zh6NQmgPig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Bemutató1" id="{32210AB4-313B-4BB7-9182-CD3B83C3F80F}" vid="{EEB24D91-A956-4203-8F18-7B7F05461371}"/>
    </a:ext>
  </a:extLst>
</a:theme>
</file>

<file path=ppt/theme/theme2.xml><?xml version="1.0" encoding="utf-8"?>
<a:theme xmlns:a="http://schemas.openxmlformats.org/drawingml/2006/main" name="Egyéni tervezé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7FA1F09-FCF7-4B50-9A12-A41E4BDE87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880E7A3-E754-409E-B9BB-DC97F429B7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47A85B-2E16-4E12-A645-85130180A82B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U-s_2014-2020-as_klasszikus_stilusu_prezentacio_sablon_140904</Template>
  <TotalTime>449</TotalTime>
  <Words>275</Words>
  <Application>Microsoft Office PowerPoint</Application>
  <PresentationFormat>Egyéni</PresentationFormat>
  <Paragraphs>87</Paragraphs>
  <Slides>7</Slides>
  <Notes>0</Notes>
  <HiddenSlides>0</HiddenSlides>
  <MMClips>0</MMClips>
  <ScaleCrop>false</ScaleCrop>
  <HeadingPairs>
    <vt:vector size="4" baseType="variant">
      <vt:variant>
        <vt:lpstr>Téma</vt:lpstr>
      </vt:variant>
      <vt:variant>
        <vt:i4>2</vt:i4>
      </vt:variant>
      <vt:variant>
        <vt:lpstr>Diacímek</vt:lpstr>
      </vt:variant>
      <vt:variant>
        <vt:i4>7</vt:i4>
      </vt:variant>
    </vt:vector>
  </HeadingPairs>
  <TitlesOfParts>
    <vt:vector size="9" baseType="lpstr">
      <vt:lpstr>Office-téma</vt:lpstr>
      <vt:lpstr>Egyéni tervezés</vt:lpstr>
      <vt:lpstr>1. dia</vt:lpstr>
      <vt:lpstr>ASP projekt résztvevők áttekintése</vt:lpstr>
      <vt:lpstr>EKOP 3.1.6 projekt célok</vt:lpstr>
      <vt:lpstr>Projekt átfutási idő</vt:lpstr>
      <vt:lpstr>Finanszírozási források</vt:lpstr>
      <vt:lpstr>ASP központ előnyei az önkormányzatok részére</vt:lpstr>
      <vt:lpstr>Projekt főbb szakaszai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GYERTYÁNÁGI András</dc:creator>
  <cp:lastModifiedBy>Gyergyák Ferenc</cp:lastModifiedBy>
  <cp:revision>25</cp:revision>
  <dcterms:created xsi:type="dcterms:W3CDTF">2014-09-22T06:21:48Z</dcterms:created>
  <dcterms:modified xsi:type="dcterms:W3CDTF">2014-10-28T19:16:51Z</dcterms:modified>
</cp:coreProperties>
</file>